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0460A9"/>
    <a:srgbClr val="D0D0D0"/>
    <a:srgbClr val="A7A8AA"/>
    <a:srgbClr val="50E2D0"/>
    <a:srgbClr val="8F2DDE"/>
    <a:srgbClr val="002068"/>
    <a:srgbClr val="FFC100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52" autoAdjust="0"/>
    <p:restoredTop sz="95687" autoAdjust="0"/>
  </p:normalViewPr>
  <p:slideViewPr>
    <p:cSldViewPr snapToGrid="0" showGuides="1">
      <p:cViewPr varScale="1">
        <p:scale>
          <a:sx n="103" d="100"/>
          <a:sy n="103" d="100"/>
        </p:scale>
        <p:origin x="80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1" d="100"/>
          <a:sy n="61" d="100"/>
        </p:scale>
        <p:origin x="3182" y="3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02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02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6340D0B-A7C3-C830-A2CB-4BFC8945D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4007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73383FC-F738-A1A9-0803-D406460DED84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521619" y="0"/>
            <a:ext cx="6670381" cy="6858000"/>
          </a:xfrm>
          <a:custGeom>
            <a:avLst/>
            <a:gdLst>
              <a:gd name="connsiteX0" fmla="*/ 3510347 w 4571991"/>
              <a:gd name="connsiteY0" fmla="*/ 0 h 4700588"/>
              <a:gd name="connsiteX1" fmla="*/ 4571991 w 4571991"/>
              <a:gd name="connsiteY1" fmla="*/ 0 h 4700588"/>
              <a:gd name="connsiteX2" fmla="*/ 4571991 w 4571991"/>
              <a:gd name="connsiteY2" fmla="*/ 4700588 h 4700588"/>
              <a:gd name="connsiteX3" fmla="*/ 4571547 w 4571991"/>
              <a:gd name="connsiteY3" fmla="*/ 4700588 h 4700588"/>
              <a:gd name="connsiteX4" fmla="*/ 4557323 w 4571991"/>
              <a:gd name="connsiteY4" fmla="*/ 4700588 h 4700588"/>
              <a:gd name="connsiteX5" fmla="*/ 4541829 w 4571991"/>
              <a:gd name="connsiteY5" fmla="*/ 4700588 h 4700588"/>
              <a:gd name="connsiteX6" fmla="*/ 4518715 w 4571991"/>
              <a:gd name="connsiteY6" fmla="*/ 4700588 h 4700588"/>
              <a:gd name="connsiteX7" fmla="*/ 4486457 w 4571991"/>
              <a:gd name="connsiteY7" fmla="*/ 4700588 h 4700588"/>
              <a:gd name="connsiteX8" fmla="*/ 4443532 w 4571991"/>
              <a:gd name="connsiteY8" fmla="*/ 4700588 h 4700588"/>
              <a:gd name="connsiteX9" fmla="*/ 4388414 w 4571991"/>
              <a:gd name="connsiteY9" fmla="*/ 4700588 h 4700588"/>
              <a:gd name="connsiteX10" fmla="*/ 4319580 w 4571991"/>
              <a:gd name="connsiteY10" fmla="*/ 4700588 h 4700588"/>
              <a:gd name="connsiteX11" fmla="*/ 4235507 w 4571991"/>
              <a:gd name="connsiteY11" fmla="*/ 4700588 h 4700588"/>
              <a:gd name="connsiteX12" fmla="*/ 4134670 w 4571991"/>
              <a:gd name="connsiteY12" fmla="*/ 4700588 h 4700588"/>
              <a:gd name="connsiteX13" fmla="*/ 4015544 w 4571991"/>
              <a:gd name="connsiteY13" fmla="*/ 4700588 h 4700588"/>
              <a:gd name="connsiteX14" fmla="*/ 3876607 w 4571991"/>
              <a:gd name="connsiteY14" fmla="*/ 4700588 h 4700588"/>
              <a:gd name="connsiteX15" fmla="*/ 3716334 w 4571991"/>
              <a:gd name="connsiteY15" fmla="*/ 4700588 h 4700588"/>
              <a:gd name="connsiteX16" fmla="*/ 3533201 w 4571991"/>
              <a:gd name="connsiteY16" fmla="*/ 4700588 h 4700588"/>
              <a:gd name="connsiteX17" fmla="*/ 3423286 w 4571991"/>
              <a:gd name="connsiteY17" fmla="*/ 4550431 h 4700588"/>
              <a:gd name="connsiteX18" fmla="*/ 3098984 w 4571991"/>
              <a:gd name="connsiteY18" fmla="*/ 4226177 h 4700588"/>
              <a:gd name="connsiteX19" fmla="*/ 1889925 w 4571991"/>
              <a:gd name="connsiteY19" fmla="*/ 4550431 h 4700588"/>
              <a:gd name="connsiteX20" fmla="*/ 1780010 w 4571991"/>
              <a:gd name="connsiteY20" fmla="*/ 4700588 h 4700588"/>
              <a:gd name="connsiteX21" fmla="*/ 1777443 w 4571991"/>
              <a:gd name="connsiteY21" fmla="*/ 4700588 h 4700588"/>
              <a:gd name="connsiteX22" fmla="*/ 1771345 w 4571991"/>
              <a:gd name="connsiteY22" fmla="*/ 4700588 h 4700588"/>
              <a:gd name="connsiteX23" fmla="*/ 1759469 w 4571991"/>
              <a:gd name="connsiteY23" fmla="*/ 4700588 h 4700588"/>
              <a:gd name="connsiteX24" fmla="*/ 1739891 w 4571991"/>
              <a:gd name="connsiteY24" fmla="*/ 4700588 h 4700588"/>
              <a:gd name="connsiteX25" fmla="*/ 1710685 w 4571991"/>
              <a:gd name="connsiteY25" fmla="*/ 4700588 h 4700588"/>
              <a:gd name="connsiteX26" fmla="*/ 1669924 w 4571991"/>
              <a:gd name="connsiteY26" fmla="*/ 4700588 h 4700588"/>
              <a:gd name="connsiteX27" fmla="*/ 1615683 w 4571991"/>
              <a:gd name="connsiteY27" fmla="*/ 4700588 h 4700588"/>
              <a:gd name="connsiteX28" fmla="*/ 1546036 w 4571991"/>
              <a:gd name="connsiteY28" fmla="*/ 4700588 h 4700588"/>
              <a:gd name="connsiteX29" fmla="*/ 1459058 w 4571991"/>
              <a:gd name="connsiteY29" fmla="*/ 4700588 h 4700588"/>
              <a:gd name="connsiteX30" fmla="*/ 1352823 w 4571991"/>
              <a:gd name="connsiteY30" fmla="*/ 4700588 h 4700588"/>
              <a:gd name="connsiteX31" fmla="*/ 1225405 w 4571991"/>
              <a:gd name="connsiteY31" fmla="*/ 4700588 h 4700588"/>
              <a:gd name="connsiteX32" fmla="*/ 1074878 w 4571991"/>
              <a:gd name="connsiteY32" fmla="*/ 4700588 h 4700588"/>
              <a:gd name="connsiteX33" fmla="*/ 899317 w 4571991"/>
              <a:gd name="connsiteY33" fmla="*/ 4700588 h 4700588"/>
              <a:gd name="connsiteX34" fmla="*/ 696796 w 4571991"/>
              <a:gd name="connsiteY34" fmla="*/ 4700588 h 4700588"/>
              <a:gd name="connsiteX35" fmla="*/ 584824 w 4571991"/>
              <a:gd name="connsiteY35" fmla="*/ 4700588 h 4700588"/>
              <a:gd name="connsiteX36" fmla="*/ 465390 w 4571991"/>
              <a:gd name="connsiteY36" fmla="*/ 4700588 h 4700588"/>
              <a:gd name="connsiteX37" fmla="*/ 356564 w 4571991"/>
              <a:gd name="connsiteY37" fmla="*/ 4550431 h 4700588"/>
              <a:gd name="connsiteX38" fmla="*/ 342416 w 4571991"/>
              <a:gd name="connsiteY38" fmla="*/ 4525404 h 4700588"/>
              <a:gd name="connsiteX39" fmla="*/ 1328382 w 4571991"/>
              <a:gd name="connsiteY39" fmla="*/ 922708 h 4700588"/>
              <a:gd name="connsiteX40" fmla="*/ 2656061 w 4571991"/>
              <a:gd name="connsiteY40" fmla="*/ 567988 h 4700588"/>
              <a:gd name="connsiteX41" fmla="*/ 3423286 w 4571991"/>
              <a:gd name="connsiteY41" fmla="*/ 125131 h 470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571991" h="4700588">
                <a:moveTo>
                  <a:pt x="3510347" y="0"/>
                </a:moveTo>
                <a:lnTo>
                  <a:pt x="4571991" y="0"/>
                </a:lnTo>
                <a:lnTo>
                  <a:pt x="4571991" y="4700588"/>
                </a:lnTo>
                <a:lnTo>
                  <a:pt x="4571547" y="4700588"/>
                </a:lnTo>
                <a:lnTo>
                  <a:pt x="4557323" y="4700588"/>
                </a:lnTo>
                <a:lnTo>
                  <a:pt x="4541829" y="4700588"/>
                </a:lnTo>
                <a:lnTo>
                  <a:pt x="4518715" y="4700588"/>
                </a:lnTo>
                <a:lnTo>
                  <a:pt x="4486457" y="4700588"/>
                </a:lnTo>
                <a:lnTo>
                  <a:pt x="4443532" y="4700588"/>
                </a:lnTo>
                <a:lnTo>
                  <a:pt x="4388414" y="4700588"/>
                </a:lnTo>
                <a:lnTo>
                  <a:pt x="4319580" y="4700588"/>
                </a:lnTo>
                <a:lnTo>
                  <a:pt x="4235507" y="4700588"/>
                </a:lnTo>
                <a:lnTo>
                  <a:pt x="4134670" y="4700588"/>
                </a:lnTo>
                <a:lnTo>
                  <a:pt x="4015544" y="4700588"/>
                </a:lnTo>
                <a:lnTo>
                  <a:pt x="3876607" y="4700588"/>
                </a:lnTo>
                <a:lnTo>
                  <a:pt x="3716334" y="4700588"/>
                </a:lnTo>
                <a:lnTo>
                  <a:pt x="3533201" y="4700588"/>
                </a:lnTo>
                <a:cubicBezTo>
                  <a:pt x="3490758" y="4654888"/>
                  <a:pt x="3454846" y="4604836"/>
                  <a:pt x="3423286" y="4550431"/>
                </a:cubicBezTo>
                <a:cubicBezTo>
                  <a:pt x="3348196" y="4419859"/>
                  <a:pt x="3238282" y="4306696"/>
                  <a:pt x="3098984" y="4226177"/>
                </a:cubicBezTo>
                <a:cubicBezTo>
                  <a:pt x="2675650" y="3982443"/>
                  <a:pt x="2133695" y="4127160"/>
                  <a:pt x="1889925" y="4550431"/>
                </a:cubicBezTo>
                <a:cubicBezTo>
                  <a:pt x="1858365" y="4604836"/>
                  <a:pt x="1821364" y="4654888"/>
                  <a:pt x="1780010" y="4700588"/>
                </a:cubicBezTo>
                <a:lnTo>
                  <a:pt x="1777443" y="4700588"/>
                </a:lnTo>
                <a:lnTo>
                  <a:pt x="1771345" y="4700588"/>
                </a:lnTo>
                <a:lnTo>
                  <a:pt x="1759469" y="4700588"/>
                </a:lnTo>
                <a:lnTo>
                  <a:pt x="1739891" y="4700588"/>
                </a:lnTo>
                <a:lnTo>
                  <a:pt x="1710685" y="4700588"/>
                </a:lnTo>
                <a:lnTo>
                  <a:pt x="1669924" y="4700588"/>
                </a:lnTo>
                <a:lnTo>
                  <a:pt x="1615683" y="4700588"/>
                </a:lnTo>
                <a:lnTo>
                  <a:pt x="1546036" y="4700588"/>
                </a:lnTo>
                <a:lnTo>
                  <a:pt x="1459058" y="4700588"/>
                </a:lnTo>
                <a:lnTo>
                  <a:pt x="1352823" y="4700588"/>
                </a:lnTo>
                <a:lnTo>
                  <a:pt x="1225405" y="4700588"/>
                </a:lnTo>
                <a:lnTo>
                  <a:pt x="1074878" y="4700588"/>
                </a:lnTo>
                <a:lnTo>
                  <a:pt x="899317" y="4700588"/>
                </a:lnTo>
                <a:lnTo>
                  <a:pt x="696796" y="4700588"/>
                </a:lnTo>
                <a:lnTo>
                  <a:pt x="584824" y="4700588"/>
                </a:lnTo>
                <a:lnTo>
                  <a:pt x="465390" y="4700588"/>
                </a:lnTo>
                <a:cubicBezTo>
                  <a:pt x="424036" y="4654888"/>
                  <a:pt x="388123" y="4604836"/>
                  <a:pt x="356564" y="4550431"/>
                </a:cubicBezTo>
                <a:cubicBezTo>
                  <a:pt x="355475" y="4548254"/>
                  <a:pt x="345681" y="4531933"/>
                  <a:pt x="342416" y="4525404"/>
                </a:cubicBezTo>
                <a:cubicBezTo>
                  <a:pt x="-371484" y="3259945"/>
                  <a:pt x="65998" y="1651735"/>
                  <a:pt x="1328382" y="922708"/>
                </a:cubicBezTo>
                <a:cubicBezTo>
                  <a:pt x="1747362" y="681150"/>
                  <a:pt x="2205521" y="566900"/>
                  <a:pt x="2656061" y="567988"/>
                </a:cubicBezTo>
                <a:cubicBezTo>
                  <a:pt x="2961863" y="566900"/>
                  <a:pt x="3258959" y="409125"/>
                  <a:pt x="3423286" y="125131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147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040000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040000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5" name="Picture 14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A3B3504A-642D-2098-B6A7-BF3E24CA62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822" y="-4713"/>
            <a:ext cx="6232604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351362A-FAEC-19EB-2886-7AA16D3262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934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81842B72-DE57-7161-E5B4-2856221FBF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910" y="-18852"/>
            <a:ext cx="7559026" cy="687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38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456E66-D74D-0BBB-B15D-AE753AE25B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996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9013A0-9540-B77E-5C8B-135A1EAC39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6A8D85-3AAF-B822-7DFA-05E9E81C86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7F9200-3709-4C17-209D-573B471942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828B8A-B13C-F5A0-BA71-F6A62D77E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" y="0"/>
            <a:ext cx="1218996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547446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2803490"/>
            <a:ext cx="5040000" cy="1009685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 dirty="0"/>
              <a:t>#.#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A858CF-56FA-DFA9-4BBB-9CB4F3753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7080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C91B6CF2-2640-B246-06EA-F82911321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240" y="0"/>
            <a:ext cx="1005230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 dirty="0"/>
              <a:t>#.#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17E0D5-FE68-293B-96FB-3712722DAC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0B04CB88-E642-883E-3304-60C8788AB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5"/>
          <a:stretch/>
        </p:blipFill>
        <p:spPr>
          <a:xfrm>
            <a:off x="8986074" y="-9527"/>
            <a:ext cx="3207600" cy="68675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4004310"/>
            <a:ext cx="1671637" cy="207835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7C20C0D-2FE9-6A74-C138-7BC872F18F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0324" y="0"/>
            <a:ext cx="5861676" cy="6858000"/>
          </a:xfrm>
          <a:custGeom>
            <a:avLst/>
            <a:gdLst>
              <a:gd name="connsiteX0" fmla="*/ 0 w 4081463"/>
              <a:gd name="connsiteY0" fmla="*/ 0 h 4775200"/>
              <a:gd name="connsiteX1" fmla="*/ 4081463 w 4081463"/>
              <a:gd name="connsiteY1" fmla="*/ 0 h 4775200"/>
              <a:gd name="connsiteX2" fmla="*/ 4081463 w 4081463"/>
              <a:gd name="connsiteY2" fmla="*/ 1513252 h 4775200"/>
              <a:gd name="connsiteX3" fmla="*/ 3994130 w 4081463"/>
              <a:gd name="connsiteY3" fmla="*/ 1557467 h 4775200"/>
              <a:gd name="connsiteX4" fmla="*/ 2382328 w 4081463"/>
              <a:gd name="connsiteY4" fmla="*/ 2488189 h 4775200"/>
              <a:gd name="connsiteX5" fmla="*/ 2041837 w 4081463"/>
              <a:gd name="connsiteY5" fmla="*/ 3758259 h 4775200"/>
              <a:gd name="connsiteX6" fmla="*/ 2166757 w 4081463"/>
              <a:gd name="connsiteY6" fmla="*/ 4223620 h 4775200"/>
              <a:gd name="connsiteX7" fmla="*/ 1985457 w 4081463"/>
              <a:gd name="connsiteY7" fmla="*/ 4775200 h 4775200"/>
              <a:gd name="connsiteX8" fmla="*/ 0 w 4081463"/>
              <a:gd name="connsiteY8" fmla="*/ 4775200 h 4775200"/>
              <a:gd name="connsiteX9" fmla="*/ 0 w 4081463"/>
              <a:gd name="connsiteY9" fmla="*/ 0 h 477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81463" h="4775200">
                <a:moveTo>
                  <a:pt x="0" y="0"/>
                </a:moveTo>
                <a:cubicBezTo>
                  <a:pt x="0" y="0"/>
                  <a:pt x="0" y="0"/>
                  <a:pt x="4081463" y="0"/>
                </a:cubicBezTo>
                <a:cubicBezTo>
                  <a:pt x="4081463" y="0"/>
                  <a:pt x="4081463" y="0"/>
                  <a:pt x="4081463" y="1513252"/>
                </a:cubicBezTo>
                <a:cubicBezTo>
                  <a:pt x="4051615" y="1526517"/>
                  <a:pt x="4021767" y="1540886"/>
                  <a:pt x="3994130" y="1557467"/>
                </a:cubicBezTo>
                <a:cubicBezTo>
                  <a:pt x="3994130" y="1557467"/>
                  <a:pt x="3994130" y="1557467"/>
                  <a:pt x="2382328" y="2488189"/>
                </a:cubicBezTo>
                <a:cubicBezTo>
                  <a:pt x="1936816" y="2744635"/>
                  <a:pt x="1785364" y="3313900"/>
                  <a:pt x="2041837" y="3758259"/>
                </a:cubicBezTo>
                <a:cubicBezTo>
                  <a:pt x="2121432" y="3895325"/>
                  <a:pt x="2166757" y="4054499"/>
                  <a:pt x="2166757" y="4223620"/>
                </a:cubicBezTo>
                <a:cubicBezTo>
                  <a:pt x="2166757" y="4430325"/>
                  <a:pt x="2099323" y="4620448"/>
                  <a:pt x="1985457" y="4775200"/>
                </a:cubicBezTo>
                <a:lnTo>
                  <a:pt x="0" y="4775200"/>
                </a:lnTo>
                <a:cubicBezTo>
                  <a:pt x="0" y="4775200"/>
                  <a:pt x="0" y="4775200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AF3BB2-5301-A93B-07D5-7F5129983F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and white gradient&#10;&#10;Description automatically generated">
            <a:extLst>
              <a:ext uri="{FF2B5EF4-FFF2-40B4-BE49-F238E27FC236}">
                <a16:creationId xmlns:a16="http://schemas.microsoft.com/office/drawing/2014/main" id="{72EC2625-A38D-61B4-9C4E-7AAF537F30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40" y="4761"/>
            <a:ext cx="589526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E152E3B-E177-1B16-46B4-B021D02EEE3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8292" y="-2"/>
            <a:ext cx="5853707" cy="6588000"/>
          </a:xfrm>
          <a:custGeom>
            <a:avLst/>
            <a:gdLst>
              <a:gd name="connsiteX0" fmla="*/ 0 w 4592638"/>
              <a:gd name="connsiteY0" fmla="*/ 0 h 5159375"/>
              <a:gd name="connsiteX1" fmla="*/ 4592638 w 4592638"/>
              <a:gd name="connsiteY1" fmla="*/ 0 h 5159375"/>
              <a:gd name="connsiteX2" fmla="*/ 4592638 w 4592638"/>
              <a:gd name="connsiteY2" fmla="*/ 4626762 h 5159375"/>
              <a:gd name="connsiteX3" fmla="*/ 4149674 w 4592638"/>
              <a:gd name="connsiteY3" fmla="*/ 4486143 h 5159375"/>
              <a:gd name="connsiteX4" fmla="*/ 3755238 w 4592638"/>
              <a:gd name="connsiteY4" fmla="*/ 4091661 h 5159375"/>
              <a:gd name="connsiteX5" fmla="*/ 3753993 w 4592638"/>
              <a:gd name="connsiteY5" fmla="*/ 4089172 h 5159375"/>
              <a:gd name="connsiteX6" fmla="*/ 2270811 w 4592638"/>
              <a:gd name="connsiteY6" fmla="*/ 3693446 h 5159375"/>
              <a:gd name="connsiteX7" fmla="*/ 389460 w 4592638"/>
              <a:gd name="connsiteY7" fmla="*/ 4776093 h 5159375"/>
              <a:gd name="connsiteX8" fmla="*/ 0 w 4592638"/>
              <a:gd name="connsiteY8" fmla="*/ 5159375 h 5159375"/>
              <a:gd name="connsiteX9" fmla="*/ 0 w 4592638"/>
              <a:gd name="connsiteY9" fmla="*/ 0 h 515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92638" h="5159375">
                <a:moveTo>
                  <a:pt x="0" y="0"/>
                </a:moveTo>
                <a:cubicBezTo>
                  <a:pt x="0" y="0"/>
                  <a:pt x="0" y="0"/>
                  <a:pt x="4592638" y="0"/>
                </a:cubicBezTo>
                <a:cubicBezTo>
                  <a:pt x="4592638" y="0"/>
                  <a:pt x="4592638" y="0"/>
                  <a:pt x="4592638" y="4626762"/>
                </a:cubicBezTo>
                <a:cubicBezTo>
                  <a:pt x="4440836" y="4613074"/>
                  <a:pt x="4290278" y="4567030"/>
                  <a:pt x="4149674" y="4486143"/>
                </a:cubicBezTo>
                <a:cubicBezTo>
                  <a:pt x="3980452" y="4387833"/>
                  <a:pt x="3847314" y="4250947"/>
                  <a:pt x="3755238" y="4091661"/>
                </a:cubicBezTo>
                <a:cubicBezTo>
                  <a:pt x="3755238" y="4090416"/>
                  <a:pt x="3753993" y="4090416"/>
                  <a:pt x="3753993" y="4089172"/>
                </a:cubicBezTo>
                <a:cubicBezTo>
                  <a:pt x="3454122" y="3570248"/>
                  <a:pt x="2789676" y="3393540"/>
                  <a:pt x="2270811" y="3693446"/>
                </a:cubicBezTo>
                <a:cubicBezTo>
                  <a:pt x="2270811" y="3693446"/>
                  <a:pt x="2270811" y="3693446"/>
                  <a:pt x="389460" y="4776093"/>
                </a:cubicBezTo>
                <a:cubicBezTo>
                  <a:pt x="233925" y="4865692"/>
                  <a:pt x="98298" y="4995112"/>
                  <a:pt x="0" y="5159375"/>
                </a:cubicBezTo>
                <a:cubicBezTo>
                  <a:pt x="0" y="5159375"/>
                  <a:pt x="0" y="5159375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31B40A-1E44-3228-9BF2-F7BB26BBC6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D62E096-A235-2AF4-53E4-CAEC001F3C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8587708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579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05C31BD-5A4F-89BA-3E8D-7678595A9D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5509" y="184019"/>
            <a:ext cx="6526491" cy="6670835"/>
          </a:xfrm>
          <a:custGeom>
            <a:avLst/>
            <a:gdLst>
              <a:gd name="connsiteX0" fmla="*/ 2627552 w 4665662"/>
              <a:gd name="connsiteY0" fmla="*/ 0 h 4768850"/>
              <a:gd name="connsiteX1" fmla="*/ 4665662 w 4665662"/>
              <a:gd name="connsiteY1" fmla="*/ 970551 h 4768850"/>
              <a:gd name="connsiteX2" fmla="*/ 4665662 w 4665662"/>
              <a:gd name="connsiteY2" fmla="*/ 2455856 h 4768850"/>
              <a:gd name="connsiteX3" fmla="*/ 4582913 w 4665662"/>
              <a:gd name="connsiteY3" fmla="*/ 2510279 h 4768850"/>
              <a:gd name="connsiteX4" fmla="*/ 4219046 w 4665662"/>
              <a:gd name="connsiteY4" fmla="*/ 2624795 h 4768850"/>
              <a:gd name="connsiteX5" fmla="*/ 4144232 w 4665662"/>
              <a:gd name="connsiteY5" fmla="*/ 2628197 h 4768850"/>
              <a:gd name="connsiteX6" fmla="*/ 3351886 w 4665662"/>
              <a:gd name="connsiteY6" fmla="*/ 3130479 h 4768850"/>
              <a:gd name="connsiteX7" fmla="*/ 3269137 w 4665662"/>
              <a:gd name="connsiteY7" fmla="*/ 3504640 h 4768850"/>
              <a:gd name="connsiteX8" fmla="*/ 3385892 w 4665662"/>
              <a:gd name="connsiteY8" fmla="*/ 3942295 h 4768850"/>
              <a:gd name="connsiteX9" fmla="*/ 3413097 w 4665662"/>
              <a:gd name="connsiteY9" fmla="*/ 4768850 h 4768850"/>
              <a:gd name="connsiteX10" fmla="*/ 1101804 w 4665662"/>
              <a:gd name="connsiteY10" fmla="*/ 4768850 h 4768850"/>
              <a:gd name="connsiteX11" fmla="*/ 0 w 4665662"/>
              <a:gd name="connsiteY11" fmla="*/ 2628197 h 4768850"/>
              <a:gd name="connsiteX12" fmla="*/ 1745656 w 4665662"/>
              <a:gd name="connsiteY12" fmla="*/ 151932 h 4768850"/>
              <a:gd name="connsiteX13" fmla="*/ 1756991 w 4665662"/>
              <a:gd name="connsiteY13" fmla="*/ 147397 h 4768850"/>
              <a:gd name="connsiteX14" fmla="*/ 2627552 w 4665662"/>
              <a:gd name="connsiteY14" fmla="*/ 0 h 4768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665662" h="4768850">
                <a:moveTo>
                  <a:pt x="2627552" y="0"/>
                </a:moveTo>
                <a:cubicBezTo>
                  <a:pt x="3450504" y="0"/>
                  <a:pt x="4183906" y="378696"/>
                  <a:pt x="4665662" y="970551"/>
                </a:cubicBezTo>
                <a:cubicBezTo>
                  <a:pt x="4665662" y="970551"/>
                  <a:pt x="4665662" y="970551"/>
                  <a:pt x="4665662" y="2455856"/>
                </a:cubicBezTo>
                <a:cubicBezTo>
                  <a:pt x="4639591" y="2476265"/>
                  <a:pt x="4611252" y="2494406"/>
                  <a:pt x="4582913" y="2510279"/>
                </a:cubicBezTo>
                <a:cubicBezTo>
                  <a:pt x="4467292" y="2577175"/>
                  <a:pt x="4343736" y="2614591"/>
                  <a:pt x="4219046" y="2624795"/>
                </a:cubicBezTo>
                <a:cubicBezTo>
                  <a:pt x="4194108" y="2627063"/>
                  <a:pt x="4169170" y="2628197"/>
                  <a:pt x="4144232" y="2628197"/>
                </a:cubicBezTo>
                <a:cubicBezTo>
                  <a:pt x="3793968" y="2628197"/>
                  <a:pt x="3492445" y="2833418"/>
                  <a:pt x="3351886" y="3130479"/>
                </a:cubicBezTo>
                <a:cubicBezTo>
                  <a:pt x="3298610" y="3243861"/>
                  <a:pt x="3269137" y="3370849"/>
                  <a:pt x="3269137" y="3504640"/>
                </a:cubicBezTo>
                <a:cubicBezTo>
                  <a:pt x="3269137" y="3664509"/>
                  <a:pt x="3311079" y="3814173"/>
                  <a:pt x="3385892" y="3942295"/>
                </a:cubicBezTo>
                <a:cubicBezTo>
                  <a:pt x="3537787" y="4206475"/>
                  <a:pt x="3537787" y="4514874"/>
                  <a:pt x="3413097" y="4768850"/>
                </a:cubicBezTo>
                <a:cubicBezTo>
                  <a:pt x="3413097" y="4768850"/>
                  <a:pt x="3413097" y="4768850"/>
                  <a:pt x="1101804" y="4768850"/>
                </a:cubicBezTo>
                <a:cubicBezTo>
                  <a:pt x="435281" y="4292646"/>
                  <a:pt x="0" y="3511443"/>
                  <a:pt x="0" y="2628197"/>
                </a:cubicBezTo>
                <a:cubicBezTo>
                  <a:pt x="0" y="1486439"/>
                  <a:pt x="728868" y="514755"/>
                  <a:pt x="1745656" y="151932"/>
                </a:cubicBezTo>
                <a:cubicBezTo>
                  <a:pt x="1749057" y="150798"/>
                  <a:pt x="1753591" y="149664"/>
                  <a:pt x="1756991" y="147397"/>
                </a:cubicBezTo>
                <a:cubicBezTo>
                  <a:pt x="2030175" y="52156"/>
                  <a:pt x="2322629" y="0"/>
                  <a:pt x="2627552" y="0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7ADA54-B020-8720-2417-FC05382B1A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71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pink gradient&#10;&#10;Description automatically generated">
            <a:extLst>
              <a:ext uri="{FF2B5EF4-FFF2-40B4-BE49-F238E27FC236}">
                <a16:creationId xmlns:a16="http://schemas.microsoft.com/office/drawing/2014/main" id="{4CFC4D6F-F4FC-EC45-2FC3-20D2A4C97C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0468" y="-207409"/>
            <a:ext cx="327819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5036251"/>
            <a:ext cx="1733550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CB4DF3-2ECC-10A9-A07B-6BB73D015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1" y="1998482"/>
            <a:ext cx="11168062" cy="4050866"/>
          </a:xfrm>
          <a:custGeom>
            <a:avLst/>
            <a:gdLst>
              <a:gd name="connsiteX0" fmla="*/ 0 w 8275638"/>
              <a:gd name="connsiteY0" fmla="*/ 0 h 3148012"/>
              <a:gd name="connsiteX1" fmla="*/ 8275638 w 8275638"/>
              <a:gd name="connsiteY1" fmla="*/ 0 h 3148012"/>
              <a:gd name="connsiteX2" fmla="*/ 8275638 w 8275638"/>
              <a:gd name="connsiteY2" fmla="*/ 1689924 h 3148012"/>
              <a:gd name="connsiteX3" fmla="*/ 7599716 w 8275638"/>
              <a:gd name="connsiteY3" fmla="*/ 1649912 h 3148012"/>
              <a:gd name="connsiteX4" fmla="*/ 6533522 w 8275638"/>
              <a:gd name="connsiteY4" fmla="*/ 2266569 h 3148012"/>
              <a:gd name="connsiteX5" fmla="*/ 6308999 w 8275638"/>
              <a:gd name="connsiteY5" fmla="*/ 3108000 h 3148012"/>
              <a:gd name="connsiteX6" fmla="*/ 6334860 w 8275638"/>
              <a:gd name="connsiteY6" fmla="*/ 3148012 h 3148012"/>
              <a:gd name="connsiteX7" fmla="*/ 0 w 8275638"/>
              <a:gd name="connsiteY7" fmla="*/ 3148012 h 3148012"/>
              <a:gd name="connsiteX8" fmla="*/ 0 w 8275638"/>
              <a:gd name="connsiteY8" fmla="*/ 0 h 314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5638" h="3148012">
                <a:moveTo>
                  <a:pt x="0" y="0"/>
                </a:moveTo>
                <a:lnTo>
                  <a:pt x="8275638" y="0"/>
                </a:lnTo>
                <a:cubicBezTo>
                  <a:pt x="8275638" y="0"/>
                  <a:pt x="8275638" y="0"/>
                  <a:pt x="8275638" y="1689924"/>
                </a:cubicBezTo>
                <a:cubicBezTo>
                  <a:pt x="8085205" y="1546351"/>
                  <a:pt x="7819537" y="1522814"/>
                  <a:pt x="7599716" y="1649912"/>
                </a:cubicBezTo>
                <a:cubicBezTo>
                  <a:pt x="7599716" y="1649912"/>
                  <a:pt x="7599716" y="1649912"/>
                  <a:pt x="6533522" y="2266569"/>
                </a:cubicBezTo>
                <a:cubicBezTo>
                  <a:pt x="6239643" y="2436032"/>
                  <a:pt x="6139724" y="2813793"/>
                  <a:pt x="6308999" y="3108000"/>
                </a:cubicBezTo>
                <a:cubicBezTo>
                  <a:pt x="6317227" y="3122122"/>
                  <a:pt x="6325456" y="3135067"/>
                  <a:pt x="6334860" y="3148012"/>
                </a:cubicBezTo>
                <a:cubicBezTo>
                  <a:pt x="6334860" y="3148012"/>
                  <a:pt x="6334860" y="3148012"/>
                  <a:pt x="0" y="3148012"/>
                </a:cubicBezTo>
                <a:cubicBezTo>
                  <a:pt x="0" y="3148012"/>
                  <a:pt x="0" y="3148012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CA76F64-7E6B-C614-FA9C-E2B5800F52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6611B9-A111-0371-1540-E3774806C5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AFB7D1-199C-2638-797C-B9402EE44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47A8A2-4A55-4B95-96AB-F65A41B20B9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Black Logo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0E1E5D-3598-B9E9-650D-49A26AC42F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8000" y="6058800"/>
            <a:ext cx="2106000" cy="74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397002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774A33-9D98-74B8-11C8-77CDA362246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091EEB-ACD3-D88E-200B-3AD83B1B03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E65450-2025-A6AF-3AD8-0E7645DBEA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FB642-D312-EEE1-38AD-7C96AFA1FF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8000" y="6058800"/>
            <a:ext cx="2106000" cy="74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a white background&#10;&#10;Description automatically generated">
            <a:extLst>
              <a:ext uri="{FF2B5EF4-FFF2-40B4-BE49-F238E27FC236}">
                <a16:creationId xmlns:a16="http://schemas.microsoft.com/office/drawing/2014/main" id="{6E2AE908-B32C-618E-A8AF-A55B76056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8623" y="300038"/>
            <a:ext cx="7519987" cy="4738687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8F09ED-5562-BAFA-DF2C-9805A48268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52490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8D9B2D-42FA-997F-617F-AAE6DCA49E1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788530" y="-1"/>
            <a:ext cx="7403470" cy="6858000"/>
          </a:xfrm>
          <a:custGeom>
            <a:avLst/>
            <a:gdLst>
              <a:gd name="connsiteX0" fmla="*/ 0 w 5041900"/>
              <a:gd name="connsiteY0" fmla="*/ 0 h 4670425"/>
              <a:gd name="connsiteX1" fmla="*/ 3971 w 5041900"/>
              <a:gd name="connsiteY1" fmla="*/ 0 h 4670425"/>
              <a:gd name="connsiteX2" fmla="*/ 13401 w 5041900"/>
              <a:gd name="connsiteY2" fmla="*/ 0 h 4670425"/>
              <a:gd name="connsiteX3" fmla="*/ 31765 w 5041900"/>
              <a:gd name="connsiteY3" fmla="*/ 0 h 4670425"/>
              <a:gd name="connsiteX4" fmla="*/ 62040 w 5041900"/>
              <a:gd name="connsiteY4" fmla="*/ 0 h 4670425"/>
              <a:gd name="connsiteX5" fmla="*/ 107205 w 5041900"/>
              <a:gd name="connsiteY5" fmla="*/ 0 h 4670425"/>
              <a:gd name="connsiteX6" fmla="*/ 170237 w 5041900"/>
              <a:gd name="connsiteY6" fmla="*/ 0 h 4670425"/>
              <a:gd name="connsiteX7" fmla="*/ 254115 w 5041900"/>
              <a:gd name="connsiteY7" fmla="*/ 0 h 4670425"/>
              <a:gd name="connsiteX8" fmla="*/ 361816 w 5041900"/>
              <a:gd name="connsiteY8" fmla="*/ 0 h 4670425"/>
              <a:gd name="connsiteX9" fmla="*/ 496318 w 5041900"/>
              <a:gd name="connsiteY9" fmla="*/ 0 h 4670425"/>
              <a:gd name="connsiteX10" fmla="*/ 574550 w 5041900"/>
              <a:gd name="connsiteY10" fmla="*/ 0 h 4670425"/>
              <a:gd name="connsiteX11" fmla="*/ 660600 w 5041900"/>
              <a:gd name="connsiteY11" fmla="*/ 0 h 4670425"/>
              <a:gd name="connsiteX12" fmla="*/ 754838 w 5041900"/>
              <a:gd name="connsiteY12" fmla="*/ 0 h 4670425"/>
              <a:gd name="connsiteX13" fmla="*/ 857638 w 5041900"/>
              <a:gd name="connsiteY13" fmla="*/ 0 h 4670425"/>
              <a:gd name="connsiteX14" fmla="*/ 969371 w 5041900"/>
              <a:gd name="connsiteY14" fmla="*/ 0 h 4670425"/>
              <a:gd name="connsiteX15" fmla="*/ 1090411 w 5041900"/>
              <a:gd name="connsiteY15" fmla="*/ 0 h 4670425"/>
              <a:gd name="connsiteX16" fmla="*/ 1221129 w 5041900"/>
              <a:gd name="connsiteY16" fmla="*/ 0 h 4670425"/>
              <a:gd name="connsiteX17" fmla="*/ 1361897 w 5041900"/>
              <a:gd name="connsiteY17" fmla="*/ 0 h 4670425"/>
              <a:gd name="connsiteX18" fmla="*/ 1513088 w 5041900"/>
              <a:gd name="connsiteY18" fmla="*/ 0 h 4670425"/>
              <a:gd name="connsiteX19" fmla="*/ 1675074 w 5041900"/>
              <a:gd name="connsiteY19" fmla="*/ 0 h 4670425"/>
              <a:gd name="connsiteX20" fmla="*/ 1848227 w 5041900"/>
              <a:gd name="connsiteY20" fmla="*/ 0 h 4670425"/>
              <a:gd name="connsiteX21" fmla="*/ 2032919 w 5041900"/>
              <a:gd name="connsiteY21" fmla="*/ 0 h 4670425"/>
              <a:gd name="connsiteX22" fmla="*/ 5041900 w 5041900"/>
              <a:gd name="connsiteY22" fmla="*/ 0 h 4670425"/>
              <a:gd name="connsiteX23" fmla="*/ 5041900 w 5041900"/>
              <a:gd name="connsiteY23" fmla="*/ 4670425 h 4670425"/>
              <a:gd name="connsiteX24" fmla="*/ 4839918 w 5041900"/>
              <a:gd name="connsiteY24" fmla="*/ 4579854 h 4670425"/>
              <a:gd name="connsiteX25" fmla="*/ 4669598 w 5041900"/>
              <a:gd name="connsiteY25" fmla="*/ 4456546 h 4670425"/>
              <a:gd name="connsiteX26" fmla="*/ 4617192 w 5041900"/>
              <a:gd name="connsiteY26" fmla="*/ 4408532 h 4670425"/>
              <a:gd name="connsiteX27" fmla="*/ 4445781 w 5041900"/>
              <a:gd name="connsiteY27" fmla="*/ 4185923 h 4670425"/>
              <a:gd name="connsiteX28" fmla="*/ 4338786 w 5041900"/>
              <a:gd name="connsiteY28" fmla="*/ 3926213 h 4670425"/>
              <a:gd name="connsiteX29" fmla="*/ 4301665 w 5041900"/>
              <a:gd name="connsiteY29" fmla="*/ 3647951 h 4670425"/>
              <a:gd name="connsiteX30" fmla="*/ 4301665 w 5041900"/>
              <a:gd name="connsiteY30" fmla="*/ 3646860 h 4670425"/>
              <a:gd name="connsiteX31" fmla="*/ 4264544 w 5041900"/>
              <a:gd name="connsiteY31" fmla="*/ 3368599 h 4670425"/>
              <a:gd name="connsiteX32" fmla="*/ 4157548 w 5041900"/>
              <a:gd name="connsiteY32" fmla="*/ 3108888 h 4670425"/>
              <a:gd name="connsiteX33" fmla="*/ 3986136 w 5041900"/>
              <a:gd name="connsiteY33" fmla="*/ 2887370 h 4670425"/>
              <a:gd name="connsiteX34" fmla="*/ 3763411 w 5041900"/>
              <a:gd name="connsiteY34" fmla="*/ 2716049 h 4670425"/>
              <a:gd name="connsiteX35" fmla="*/ 3504656 w 5041900"/>
              <a:gd name="connsiteY35" fmla="*/ 2608018 h 4670425"/>
              <a:gd name="connsiteX36" fmla="*/ 3226248 w 5041900"/>
              <a:gd name="connsiteY36" fmla="*/ 2572008 h 4670425"/>
              <a:gd name="connsiteX37" fmla="*/ 2947841 w 5041900"/>
              <a:gd name="connsiteY37" fmla="*/ 2609109 h 4670425"/>
              <a:gd name="connsiteX38" fmla="*/ 2687994 w 5041900"/>
              <a:gd name="connsiteY38" fmla="*/ 2714957 h 4670425"/>
              <a:gd name="connsiteX39" fmla="*/ 2428148 w 5041900"/>
              <a:gd name="connsiteY39" fmla="*/ 2821897 h 4670425"/>
              <a:gd name="connsiteX40" fmla="*/ 2149741 w 5041900"/>
              <a:gd name="connsiteY40" fmla="*/ 2858999 h 4670425"/>
              <a:gd name="connsiteX41" fmla="*/ 1870242 w 5041900"/>
              <a:gd name="connsiteY41" fmla="*/ 2822988 h 4670425"/>
              <a:gd name="connsiteX42" fmla="*/ 1611487 w 5041900"/>
              <a:gd name="connsiteY42" fmla="*/ 2714957 h 4670425"/>
              <a:gd name="connsiteX43" fmla="*/ 1441167 w 5041900"/>
              <a:gd name="connsiteY43" fmla="*/ 2592741 h 4670425"/>
              <a:gd name="connsiteX44" fmla="*/ 1388761 w 5041900"/>
              <a:gd name="connsiteY44" fmla="*/ 2543636 h 4670425"/>
              <a:gd name="connsiteX45" fmla="*/ 1217349 w 5041900"/>
              <a:gd name="connsiteY45" fmla="*/ 2322118 h 4670425"/>
              <a:gd name="connsiteX46" fmla="*/ 1151842 w 5041900"/>
              <a:gd name="connsiteY46" fmla="*/ 2209722 h 4670425"/>
              <a:gd name="connsiteX47" fmla="*/ 1045938 w 5041900"/>
              <a:gd name="connsiteY47" fmla="*/ 2025306 h 4670425"/>
              <a:gd name="connsiteX48" fmla="*/ 140841 w 5041900"/>
              <a:gd name="connsiteY48" fmla="*/ 458313 h 4670425"/>
              <a:gd name="connsiteX49" fmla="*/ 33846 w 5041900"/>
              <a:gd name="connsiteY49" fmla="*/ 198602 h 4670425"/>
              <a:gd name="connsiteX50" fmla="*/ 0 w 5041900"/>
              <a:gd name="connsiteY50" fmla="*/ 0 h 467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041900" h="4670425">
                <a:moveTo>
                  <a:pt x="0" y="0"/>
                </a:moveTo>
                <a:lnTo>
                  <a:pt x="3971" y="0"/>
                </a:lnTo>
                <a:lnTo>
                  <a:pt x="13401" y="0"/>
                </a:lnTo>
                <a:lnTo>
                  <a:pt x="31765" y="0"/>
                </a:lnTo>
                <a:lnTo>
                  <a:pt x="62040" y="0"/>
                </a:lnTo>
                <a:lnTo>
                  <a:pt x="107205" y="0"/>
                </a:lnTo>
                <a:lnTo>
                  <a:pt x="170237" y="0"/>
                </a:lnTo>
                <a:lnTo>
                  <a:pt x="254115" y="0"/>
                </a:lnTo>
                <a:lnTo>
                  <a:pt x="361816" y="0"/>
                </a:lnTo>
                <a:lnTo>
                  <a:pt x="496318" y="0"/>
                </a:lnTo>
                <a:lnTo>
                  <a:pt x="574550" y="0"/>
                </a:lnTo>
                <a:lnTo>
                  <a:pt x="660600" y="0"/>
                </a:lnTo>
                <a:lnTo>
                  <a:pt x="754838" y="0"/>
                </a:lnTo>
                <a:lnTo>
                  <a:pt x="857638" y="0"/>
                </a:lnTo>
                <a:lnTo>
                  <a:pt x="969371" y="0"/>
                </a:lnTo>
                <a:lnTo>
                  <a:pt x="1090411" y="0"/>
                </a:lnTo>
                <a:lnTo>
                  <a:pt x="1221129" y="0"/>
                </a:lnTo>
                <a:lnTo>
                  <a:pt x="1361897" y="0"/>
                </a:lnTo>
                <a:lnTo>
                  <a:pt x="1513088" y="0"/>
                </a:lnTo>
                <a:lnTo>
                  <a:pt x="1675074" y="0"/>
                </a:lnTo>
                <a:lnTo>
                  <a:pt x="1848227" y="0"/>
                </a:lnTo>
                <a:lnTo>
                  <a:pt x="2032919" y="0"/>
                </a:lnTo>
                <a:lnTo>
                  <a:pt x="5041900" y="0"/>
                </a:lnTo>
                <a:cubicBezTo>
                  <a:pt x="5041900" y="0"/>
                  <a:pt x="5041900" y="0"/>
                  <a:pt x="5041900" y="4670425"/>
                </a:cubicBezTo>
                <a:cubicBezTo>
                  <a:pt x="4972025" y="4647510"/>
                  <a:pt x="4904334" y="4616955"/>
                  <a:pt x="4839918" y="4579854"/>
                </a:cubicBezTo>
                <a:cubicBezTo>
                  <a:pt x="4779870" y="4544935"/>
                  <a:pt x="4722004" y="4503468"/>
                  <a:pt x="4669598" y="4456546"/>
                </a:cubicBezTo>
                <a:cubicBezTo>
                  <a:pt x="4651038" y="4441269"/>
                  <a:pt x="4634661" y="4424901"/>
                  <a:pt x="4617192" y="4408532"/>
                </a:cubicBezTo>
                <a:cubicBezTo>
                  <a:pt x="4552777" y="4343059"/>
                  <a:pt x="4493820" y="4269947"/>
                  <a:pt x="4445781" y="4185923"/>
                </a:cubicBezTo>
                <a:cubicBezTo>
                  <a:pt x="4397742" y="4102990"/>
                  <a:pt x="4362805" y="4015693"/>
                  <a:pt x="4338786" y="3926213"/>
                </a:cubicBezTo>
                <a:cubicBezTo>
                  <a:pt x="4314766" y="3834550"/>
                  <a:pt x="4301665" y="3741796"/>
                  <a:pt x="4301665" y="3647951"/>
                </a:cubicBezTo>
                <a:cubicBezTo>
                  <a:pt x="4301665" y="3647951"/>
                  <a:pt x="4301665" y="3647951"/>
                  <a:pt x="4301665" y="3646860"/>
                </a:cubicBezTo>
                <a:cubicBezTo>
                  <a:pt x="4301665" y="3554106"/>
                  <a:pt x="4289655" y="3460261"/>
                  <a:pt x="4264544" y="3368599"/>
                </a:cubicBezTo>
                <a:cubicBezTo>
                  <a:pt x="4240524" y="3280210"/>
                  <a:pt x="4206679" y="3192912"/>
                  <a:pt x="4157548" y="3108888"/>
                </a:cubicBezTo>
                <a:cubicBezTo>
                  <a:pt x="4109509" y="3025955"/>
                  <a:pt x="4051644" y="2951752"/>
                  <a:pt x="3986136" y="2887370"/>
                </a:cubicBezTo>
                <a:cubicBezTo>
                  <a:pt x="3918445" y="2819715"/>
                  <a:pt x="3844203" y="2762971"/>
                  <a:pt x="3763411" y="2716049"/>
                </a:cubicBezTo>
                <a:cubicBezTo>
                  <a:pt x="3681526" y="2669126"/>
                  <a:pt x="3595274" y="2632025"/>
                  <a:pt x="3504656" y="2608018"/>
                </a:cubicBezTo>
                <a:cubicBezTo>
                  <a:pt x="3414037" y="2584011"/>
                  <a:pt x="3320143" y="2572008"/>
                  <a:pt x="3226248" y="2572008"/>
                </a:cubicBezTo>
                <a:cubicBezTo>
                  <a:pt x="3132354" y="2572008"/>
                  <a:pt x="3039552" y="2584011"/>
                  <a:pt x="2947841" y="2609109"/>
                </a:cubicBezTo>
                <a:cubicBezTo>
                  <a:pt x="2858314" y="2633116"/>
                  <a:pt x="2770971" y="2666944"/>
                  <a:pt x="2687994" y="2714957"/>
                </a:cubicBezTo>
                <a:cubicBezTo>
                  <a:pt x="2603926" y="2764062"/>
                  <a:pt x="2516583" y="2797890"/>
                  <a:pt x="2428148" y="2821897"/>
                </a:cubicBezTo>
                <a:cubicBezTo>
                  <a:pt x="2335345" y="2846995"/>
                  <a:pt x="2242543" y="2858999"/>
                  <a:pt x="2149741" y="2858999"/>
                </a:cubicBezTo>
                <a:cubicBezTo>
                  <a:pt x="2054755" y="2858999"/>
                  <a:pt x="1960860" y="2846995"/>
                  <a:pt x="1870242" y="2822988"/>
                </a:cubicBezTo>
                <a:cubicBezTo>
                  <a:pt x="1780715" y="2798981"/>
                  <a:pt x="1693371" y="2761880"/>
                  <a:pt x="1611487" y="2714957"/>
                </a:cubicBezTo>
                <a:cubicBezTo>
                  <a:pt x="1551438" y="2680038"/>
                  <a:pt x="1493573" y="2638572"/>
                  <a:pt x="1441167" y="2592741"/>
                </a:cubicBezTo>
                <a:cubicBezTo>
                  <a:pt x="1422606" y="2576372"/>
                  <a:pt x="1406230" y="2560004"/>
                  <a:pt x="1388761" y="2543636"/>
                </a:cubicBezTo>
                <a:cubicBezTo>
                  <a:pt x="1324345" y="2478163"/>
                  <a:pt x="1265388" y="2405051"/>
                  <a:pt x="1217349" y="2322118"/>
                </a:cubicBezTo>
                <a:cubicBezTo>
                  <a:pt x="1217349" y="2322118"/>
                  <a:pt x="1217349" y="2322118"/>
                  <a:pt x="1151842" y="2209722"/>
                </a:cubicBezTo>
                <a:cubicBezTo>
                  <a:pt x="1151842" y="2209722"/>
                  <a:pt x="1151842" y="2209722"/>
                  <a:pt x="1045938" y="2025306"/>
                </a:cubicBezTo>
                <a:cubicBezTo>
                  <a:pt x="1045938" y="2025306"/>
                  <a:pt x="1045938" y="2025306"/>
                  <a:pt x="140841" y="458313"/>
                </a:cubicBezTo>
                <a:cubicBezTo>
                  <a:pt x="92803" y="374289"/>
                  <a:pt x="57865" y="286991"/>
                  <a:pt x="33846" y="198602"/>
                </a:cubicBezTo>
                <a:cubicBezTo>
                  <a:pt x="16377" y="133129"/>
                  <a:pt x="5459" y="66565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7213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8A02B4-2B0C-5EA0-BE28-AFD590245A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958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background with a white circle&#10;&#10;Description automatically generated">
            <a:extLst>
              <a:ext uri="{FF2B5EF4-FFF2-40B4-BE49-F238E27FC236}">
                <a16:creationId xmlns:a16="http://schemas.microsoft.com/office/drawing/2014/main" id="{D8D2F2BA-B806-ECC0-C680-5177E7CFB4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1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5E6AA5-DA5B-084B-4D3F-63E593DDD8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orange background&#10;&#10;Description automatically generated">
            <a:extLst>
              <a:ext uri="{FF2B5EF4-FFF2-40B4-BE49-F238E27FC236}">
                <a16:creationId xmlns:a16="http://schemas.microsoft.com/office/drawing/2014/main" id="{52B78836-D270-8BD3-A8B5-AC1F92081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" y="0"/>
            <a:ext cx="11137392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518729C-FEDC-A5A2-C0C2-EBACC14EB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567265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BAC1AC-37C3-5A56-E214-FA1ACE31EB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liquid shapes on a white background&#10;&#10;Description automatically generated">
            <a:extLst>
              <a:ext uri="{FF2B5EF4-FFF2-40B4-BE49-F238E27FC236}">
                <a16:creationId xmlns:a16="http://schemas.microsoft.com/office/drawing/2014/main" id="{A067476D-E3CA-C006-8AF2-F6334DF7B7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52" y="0"/>
            <a:ext cx="6251448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514474"/>
            <a:ext cx="7272337" cy="4537075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B5FD5AC-2B1C-3D07-7A6B-8C2B010AE4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4838" y="385763"/>
            <a:ext cx="990600" cy="9906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90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92B721-B8D9-28BA-665E-560C065322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894699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10D9AA-1C89-877F-1CBC-C143A8F7A1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18B680-73BC-DEA5-8E0D-7459F6F275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893FA3-7766-305B-C9E2-BA18D1C2F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GB"/>
              <a:t>Click icon to add tab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43D3B1-4799-7E1B-EA31-4F990C676F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19B538-DD82-54D8-8FF2-6184EC2D8B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D71F6C-2F63-0DCF-BED2-E7AFF5AF5A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6D5242C-C72E-8261-18FB-71780E1AA0D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38111" y="-1"/>
            <a:ext cx="6153889" cy="6858000"/>
          </a:xfrm>
          <a:custGeom>
            <a:avLst/>
            <a:gdLst>
              <a:gd name="connsiteX0" fmla="*/ 1923952 w 4481513"/>
              <a:gd name="connsiteY0" fmla="*/ 0 h 4994275"/>
              <a:gd name="connsiteX1" fmla="*/ 4481513 w 4481513"/>
              <a:gd name="connsiteY1" fmla="*/ 0 h 4994275"/>
              <a:gd name="connsiteX2" fmla="*/ 4481513 w 4481513"/>
              <a:gd name="connsiteY2" fmla="*/ 2295979 h 4994275"/>
              <a:gd name="connsiteX3" fmla="*/ 4480357 w 4481513"/>
              <a:gd name="connsiteY3" fmla="*/ 2297135 h 4994275"/>
              <a:gd name="connsiteX4" fmla="*/ 4478045 w 4481513"/>
              <a:gd name="connsiteY4" fmla="*/ 2299448 h 4994275"/>
              <a:gd name="connsiteX5" fmla="*/ 4459545 w 4481513"/>
              <a:gd name="connsiteY5" fmla="*/ 2313321 h 4994275"/>
              <a:gd name="connsiteX6" fmla="*/ 4454920 w 4481513"/>
              <a:gd name="connsiteY6" fmla="*/ 2316789 h 4994275"/>
              <a:gd name="connsiteX7" fmla="*/ 4435264 w 4481513"/>
              <a:gd name="connsiteY7" fmla="*/ 2330662 h 4994275"/>
              <a:gd name="connsiteX8" fmla="*/ 4430640 w 4481513"/>
              <a:gd name="connsiteY8" fmla="*/ 2334130 h 4994275"/>
              <a:gd name="connsiteX9" fmla="*/ 4412140 w 4481513"/>
              <a:gd name="connsiteY9" fmla="*/ 2346847 h 4994275"/>
              <a:gd name="connsiteX10" fmla="*/ 4409828 w 4481513"/>
              <a:gd name="connsiteY10" fmla="*/ 2349159 h 4994275"/>
              <a:gd name="connsiteX11" fmla="*/ 4387859 w 4481513"/>
              <a:gd name="connsiteY11" fmla="*/ 2363032 h 4994275"/>
              <a:gd name="connsiteX12" fmla="*/ 4383234 w 4481513"/>
              <a:gd name="connsiteY12" fmla="*/ 2365344 h 4994275"/>
              <a:gd name="connsiteX13" fmla="*/ 4361266 w 4481513"/>
              <a:gd name="connsiteY13" fmla="*/ 2379217 h 4994275"/>
              <a:gd name="connsiteX14" fmla="*/ 4149678 w 4481513"/>
              <a:gd name="connsiteY14" fmla="*/ 2465923 h 4994275"/>
              <a:gd name="connsiteX15" fmla="*/ 3921902 w 4481513"/>
              <a:gd name="connsiteY15" fmla="*/ 2497138 h 4994275"/>
              <a:gd name="connsiteX16" fmla="*/ 3743844 w 4481513"/>
              <a:gd name="connsiteY16" fmla="*/ 2515635 h 4994275"/>
              <a:gd name="connsiteX17" fmla="*/ 3694127 w 4481513"/>
              <a:gd name="connsiteY17" fmla="*/ 2528352 h 4994275"/>
              <a:gd name="connsiteX18" fmla="*/ 3622441 w 4481513"/>
              <a:gd name="connsiteY18" fmla="*/ 2550317 h 4994275"/>
              <a:gd name="connsiteX19" fmla="*/ 3482538 w 4481513"/>
              <a:gd name="connsiteY19" fmla="*/ 2615058 h 4994275"/>
              <a:gd name="connsiteX20" fmla="*/ 3369228 w 4481513"/>
              <a:gd name="connsiteY20" fmla="*/ 2693672 h 4994275"/>
              <a:gd name="connsiteX21" fmla="*/ 3299855 w 4481513"/>
              <a:gd name="connsiteY21" fmla="*/ 2754944 h 4994275"/>
              <a:gd name="connsiteX22" fmla="*/ 3236263 w 4481513"/>
              <a:gd name="connsiteY22" fmla="*/ 2826621 h 4994275"/>
              <a:gd name="connsiteX23" fmla="*/ 3161109 w 4481513"/>
              <a:gd name="connsiteY23" fmla="*/ 2936449 h 4994275"/>
              <a:gd name="connsiteX24" fmla="*/ 3099829 w 4481513"/>
              <a:gd name="connsiteY24" fmla="*/ 3065930 h 4994275"/>
              <a:gd name="connsiteX25" fmla="*/ 3097516 w 4481513"/>
              <a:gd name="connsiteY25" fmla="*/ 3071710 h 4994275"/>
              <a:gd name="connsiteX26" fmla="*/ 3087110 w 4481513"/>
              <a:gd name="connsiteY26" fmla="*/ 3102925 h 4994275"/>
              <a:gd name="connsiteX27" fmla="*/ 3073236 w 4481513"/>
              <a:gd name="connsiteY27" fmla="*/ 3149168 h 4994275"/>
              <a:gd name="connsiteX28" fmla="*/ 3043174 w 4481513"/>
              <a:gd name="connsiteY28" fmla="*/ 3375760 h 4994275"/>
              <a:gd name="connsiteX29" fmla="*/ 3073236 w 4481513"/>
              <a:gd name="connsiteY29" fmla="*/ 3603508 h 4994275"/>
              <a:gd name="connsiteX30" fmla="*/ 3098673 w 4481513"/>
              <a:gd name="connsiteY30" fmla="*/ 3680966 h 4994275"/>
              <a:gd name="connsiteX31" fmla="*/ 3155328 w 4481513"/>
              <a:gd name="connsiteY31" fmla="*/ 3805823 h 4994275"/>
              <a:gd name="connsiteX32" fmla="*/ 3161109 w 4481513"/>
              <a:gd name="connsiteY32" fmla="*/ 3815071 h 4994275"/>
              <a:gd name="connsiteX33" fmla="*/ 3161109 w 4481513"/>
              <a:gd name="connsiteY33" fmla="*/ 3816227 h 4994275"/>
              <a:gd name="connsiteX34" fmla="*/ 3248981 w 4481513"/>
              <a:gd name="connsiteY34" fmla="*/ 4028947 h 4994275"/>
              <a:gd name="connsiteX35" fmla="*/ 3279043 w 4481513"/>
              <a:gd name="connsiteY35" fmla="*/ 4255539 h 4994275"/>
              <a:gd name="connsiteX36" fmla="*/ 3255919 w 4481513"/>
              <a:gd name="connsiteY36" fmla="*/ 4454385 h 4994275"/>
              <a:gd name="connsiteX37" fmla="*/ 3248981 w 4481513"/>
              <a:gd name="connsiteY37" fmla="*/ 4483287 h 4994275"/>
              <a:gd name="connsiteX38" fmla="*/ 3244357 w 4481513"/>
              <a:gd name="connsiteY38" fmla="*/ 4498316 h 4994275"/>
              <a:gd name="connsiteX39" fmla="*/ 3231638 w 4481513"/>
              <a:gd name="connsiteY39" fmla="*/ 4538779 h 4994275"/>
              <a:gd name="connsiteX40" fmla="*/ 3198108 w 4481513"/>
              <a:gd name="connsiteY40" fmla="*/ 4624329 h 4994275"/>
              <a:gd name="connsiteX41" fmla="*/ 3174983 w 4481513"/>
              <a:gd name="connsiteY41" fmla="*/ 4669416 h 4994275"/>
              <a:gd name="connsiteX42" fmla="*/ 3161109 w 4481513"/>
              <a:gd name="connsiteY42" fmla="*/ 4694850 h 4994275"/>
              <a:gd name="connsiteX43" fmla="*/ 3022362 w 4481513"/>
              <a:gd name="connsiteY43" fmla="*/ 4877511 h 4994275"/>
              <a:gd name="connsiteX44" fmla="*/ 3002706 w 4481513"/>
              <a:gd name="connsiteY44" fmla="*/ 4896008 h 4994275"/>
              <a:gd name="connsiteX45" fmla="*/ 2996925 w 4481513"/>
              <a:gd name="connsiteY45" fmla="*/ 4900633 h 4994275"/>
              <a:gd name="connsiteX46" fmla="*/ 2983051 w 4481513"/>
              <a:gd name="connsiteY46" fmla="*/ 4913349 h 4994275"/>
              <a:gd name="connsiteX47" fmla="*/ 2976113 w 4481513"/>
              <a:gd name="connsiteY47" fmla="*/ 4919130 h 4994275"/>
              <a:gd name="connsiteX48" fmla="*/ 2962239 w 4481513"/>
              <a:gd name="connsiteY48" fmla="*/ 4930691 h 4994275"/>
              <a:gd name="connsiteX49" fmla="*/ 2955301 w 4481513"/>
              <a:gd name="connsiteY49" fmla="*/ 4936471 h 4994275"/>
              <a:gd name="connsiteX50" fmla="*/ 2939114 w 4481513"/>
              <a:gd name="connsiteY50" fmla="*/ 4949188 h 4994275"/>
              <a:gd name="connsiteX51" fmla="*/ 2934489 w 4481513"/>
              <a:gd name="connsiteY51" fmla="*/ 4952656 h 4994275"/>
              <a:gd name="connsiteX52" fmla="*/ 2913677 w 4481513"/>
              <a:gd name="connsiteY52" fmla="*/ 4968841 h 4994275"/>
              <a:gd name="connsiteX53" fmla="*/ 2907896 w 4481513"/>
              <a:gd name="connsiteY53" fmla="*/ 4972310 h 4994275"/>
              <a:gd name="connsiteX54" fmla="*/ 2891709 w 4481513"/>
              <a:gd name="connsiteY54" fmla="*/ 4983871 h 4994275"/>
              <a:gd name="connsiteX55" fmla="*/ 2883616 w 4481513"/>
              <a:gd name="connsiteY55" fmla="*/ 4989651 h 4994275"/>
              <a:gd name="connsiteX56" fmla="*/ 2875522 w 4481513"/>
              <a:gd name="connsiteY56" fmla="*/ 4994275 h 4994275"/>
              <a:gd name="connsiteX57" fmla="*/ 1922796 w 4481513"/>
              <a:gd name="connsiteY57" fmla="*/ 4994275 h 4994275"/>
              <a:gd name="connsiteX58" fmla="*/ 957351 w 4481513"/>
              <a:gd name="connsiteY58" fmla="*/ 4435888 h 4994275"/>
              <a:gd name="connsiteX59" fmla="*/ 440520 w 4481513"/>
              <a:gd name="connsiteY59" fmla="*/ 4136462 h 4994275"/>
              <a:gd name="connsiteX60" fmla="*/ 439364 w 4481513"/>
              <a:gd name="connsiteY60" fmla="*/ 4136462 h 4994275"/>
              <a:gd name="connsiteX61" fmla="*/ 343398 w 4481513"/>
              <a:gd name="connsiteY61" fmla="*/ 4072878 h 4994275"/>
              <a:gd name="connsiteX62" fmla="*/ 257837 w 4481513"/>
              <a:gd name="connsiteY62" fmla="*/ 3997732 h 4994275"/>
              <a:gd name="connsiteX63" fmla="*/ 182683 w 4481513"/>
              <a:gd name="connsiteY63" fmla="*/ 3912182 h 4994275"/>
              <a:gd name="connsiteX64" fmla="*/ 120247 w 4481513"/>
              <a:gd name="connsiteY64" fmla="*/ 3819696 h 4994275"/>
              <a:gd name="connsiteX65" fmla="*/ 117935 w 4481513"/>
              <a:gd name="connsiteY65" fmla="*/ 3815071 h 4994275"/>
              <a:gd name="connsiteX66" fmla="*/ 114466 w 4481513"/>
              <a:gd name="connsiteY66" fmla="*/ 3806979 h 4994275"/>
              <a:gd name="connsiteX67" fmla="*/ 53186 w 4481513"/>
              <a:gd name="connsiteY67" fmla="*/ 3675185 h 4994275"/>
              <a:gd name="connsiteX68" fmla="*/ 31218 w 4481513"/>
              <a:gd name="connsiteY68" fmla="*/ 3603508 h 4994275"/>
              <a:gd name="connsiteX69" fmla="*/ 0 w 4481513"/>
              <a:gd name="connsiteY69" fmla="*/ 3375760 h 4994275"/>
              <a:gd name="connsiteX70" fmla="*/ 31218 w 4481513"/>
              <a:gd name="connsiteY70" fmla="*/ 3149168 h 4994275"/>
              <a:gd name="connsiteX71" fmla="*/ 47405 w 4481513"/>
              <a:gd name="connsiteY71" fmla="*/ 3093676 h 4994275"/>
              <a:gd name="connsiteX72" fmla="*/ 94810 w 4481513"/>
              <a:gd name="connsiteY72" fmla="*/ 2980380 h 4994275"/>
              <a:gd name="connsiteX73" fmla="*/ 117935 w 4481513"/>
              <a:gd name="connsiteY73" fmla="*/ 2936449 h 4994275"/>
              <a:gd name="connsiteX74" fmla="*/ 119091 w 4481513"/>
              <a:gd name="connsiteY74" fmla="*/ 2936449 h 4994275"/>
              <a:gd name="connsiteX75" fmla="*/ 117935 w 4481513"/>
              <a:gd name="connsiteY75" fmla="*/ 2935293 h 4994275"/>
              <a:gd name="connsiteX76" fmla="*/ 124872 w 4481513"/>
              <a:gd name="connsiteY76" fmla="*/ 2924888 h 4994275"/>
              <a:gd name="connsiteX77" fmla="*/ 178058 w 4481513"/>
              <a:gd name="connsiteY77" fmla="*/ 2809280 h 4994275"/>
              <a:gd name="connsiteX78" fmla="*/ 205807 w 4481513"/>
              <a:gd name="connsiteY78" fmla="*/ 2723730 h 4994275"/>
              <a:gd name="connsiteX79" fmla="*/ 218526 w 4481513"/>
              <a:gd name="connsiteY79" fmla="*/ 2671706 h 4994275"/>
              <a:gd name="connsiteX80" fmla="*/ 237025 w 4481513"/>
              <a:gd name="connsiteY80" fmla="*/ 2495982 h 4994275"/>
              <a:gd name="connsiteX81" fmla="*/ 216213 w 4481513"/>
              <a:gd name="connsiteY81" fmla="*/ 2313321 h 4994275"/>
              <a:gd name="connsiteX82" fmla="*/ 205807 w 4481513"/>
              <a:gd name="connsiteY82" fmla="*/ 2269389 h 4994275"/>
              <a:gd name="connsiteX83" fmla="*/ 197714 w 4481513"/>
              <a:gd name="connsiteY83" fmla="*/ 2240487 h 4994275"/>
              <a:gd name="connsiteX84" fmla="*/ 117935 w 4481513"/>
              <a:gd name="connsiteY84" fmla="*/ 2057826 h 4994275"/>
              <a:gd name="connsiteX85" fmla="*/ 31218 w 4481513"/>
              <a:gd name="connsiteY85" fmla="*/ 1845107 h 4994275"/>
              <a:gd name="connsiteX86" fmla="*/ 0 w 4481513"/>
              <a:gd name="connsiteY86" fmla="*/ 1618515 h 4994275"/>
              <a:gd name="connsiteX87" fmla="*/ 31218 w 4481513"/>
              <a:gd name="connsiteY87" fmla="*/ 1390767 h 4994275"/>
              <a:gd name="connsiteX88" fmla="*/ 47405 w 4481513"/>
              <a:gd name="connsiteY88" fmla="*/ 1335275 h 4994275"/>
              <a:gd name="connsiteX89" fmla="*/ 117935 w 4481513"/>
              <a:gd name="connsiteY89" fmla="*/ 1179204 h 4994275"/>
              <a:gd name="connsiteX90" fmla="*/ 128341 w 4481513"/>
              <a:gd name="connsiteY90" fmla="*/ 1163019 h 4994275"/>
              <a:gd name="connsiteX91" fmla="*/ 205807 w 4481513"/>
              <a:gd name="connsiteY91" fmla="*/ 1053191 h 4994275"/>
              <a:gd name="connsiteX92" fmla="*/ 257837 w 4481513"/>
              <a:gd name="connsiteY92" fmla="*/ 996543 h 4994275"/>
              <a:gd name="connsiteX93" fmla="*/ 439364 w 4481513"/>
              <a:gd name="connsiteY93" fmla="*/ 857813 h 4994275"/>
              <a:gd name="connsiteX94" fmla="*/ 1923952 w 4481513"/>
              <a:gd name="connsiteY94" fmla="*/ 0 h 499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4481513" h="4994275">
                <a:moveTo>
                  <a:pt x="1923952" y="0"/>
                </a:moveTo>
                <a:cubicBezTo>
                  <a:pt x="1923952" y="0"/>
                  <a:pt x="1923952" y="0"/>
                  <a:pt x="4481513" y="0"/>
                </a:cubicBezTo>
                <a:cubicBezTo>
                  <a:pt x="4481513" y="0"/>
                  <a:pt x="4481513" y="0"/>
                  <a:pt x="4481513" y="2295979"/>
                </a:cubicBezTo>
                <a:cubicBezTo>
                  <a:pt x="4481513" y="2295979"/>
                  <a:pt x="4480357" y="2295979"/>
                  <a:pt x="4480357" y="2297135"/>
                </a:cubicBezTo>
                <a:cubicBezTo>
                  <a:pt x="4479201" y="2297135"/>
                  <a:pt x="4478045" y="2298291"/>
                  <a:pt x="4478045" y="2299448"/>
                </a:cubicBezTo>
                <a:cubicBezTo>
                  <a:pt x="4471107" y="2304072"/>
                  <a:pt x="4465326" y="2308696"/>
                  <a:pt x="4459545" y="2313321"/>
                </a:cubicBezTo>
                <a:cubicBezTo>
                  <a:pt x="4458389" y="2314477"/>
                  <a:pt x="4457233" y="2315633"/>
                  <a:pt x="4454920" y="2316789"/>
                </a:cubicBezTo>
                <a:cubicBezTo>
                  <a:pt x="4449139" y="2321413"/>
                  <a:pt x="4442202" y="2326037"/>
                  <a:pt x="4435264" y="2330662"/>
                </a:cubicBezTo>
                <a:cubicBezTo>
                  <a:pt x="4434108" y="2331818"/>
                  <a:pt x="4432952" y="2332974"/>
                  <a:pt x="4430640" y="2334130"/>
                </a:cubicBezTo>
                <a:cubicBezTo>
                  <a:pt x="4424858" y="2338754"/>
                  <a:pt x="4419077" y="2342223"/>
                  <a:pt x="4412140" y="2346847"/>
                </a:cubicBezTo>
                <a:cubicBezTo>
                  <a:pt x="4410984" y="2348003"/>
                  <a:pt x="4409828" y="2348003"/>
                  <a:pt x="4409828" y="2349159"/>
                </a:cubicBezTo>
                <a:cubicBezTo>
                  <a:pt x="4401734" y="2353783"/>
                  <a:pt x="4394797" y="2358408"/>
                  <a:pt x="4387859" y="2363032"/>
                </a:cubicBezTo>
                <a:cubicBezTo>
                  <a:pt x="4386703" y="2363032"/>
                  <a:pt x="4384391" y="2364188"/>
                  <a:pt x="4383234" y="2365344"/>
                </a:cubicBezTo>
                <a:cubicBezTo>
                  <a:pt x="4376297" y="2369969"/>
                  <a:pt x="4368204" y="2374593"/>
                  <a:pt x="4361266" y="2379217"/>
                </a:cubicBezTo>
                <a:cubicBezTo>
                  <a:pt x="4295362" y="2417368"/>
                  <a:pt x="4224832" y="2446270"/>
                  <a:pt x="4149678" y="2465923"/>
                </a:cubicBezTo>
                <a:cubicBezTo>
                  <a:pt x="4076836" y="2485577"/>
                  <a:pt x="4000525" y="2497138"/>
                  <a:pt x="3921902" y="2497138"/>
                </a:cubicBezTo>
                <a:cubicBezTo>
                  <a:pt x="3860622" y="2497138"/>
                  <a:pt x="3801655" y="2504074"/>
                  <a:pt x="3743844" y="2515635"/>
                </a:cubicBezTo>
                <a:cubicBezTo>
                  <a:pt x="3727657" y="2519103"/>
                  <a:pt x="3710314" y="2523728"/>
                  <a:pt x="3694127" y="2528352"/>
                </a:cubicBezTo>
                <a:cubicBezTo>
                  <a:pt x="3669846" y="2534132"/>
                  <a:pt x="3645565" y="2542225"/>
                  <a:pt x="3622441" y="2550317"/>
                </a:cubicBezTo>
                <a:cubicBezTo>
                  <a:pt x="3573880" y="2568815"/>
                  <a:pt x="3526474" y="2589624"/>
                  <a:pt x="3482538" y="2615058"/>
                </a:cubicBezTo>
                <a:cubicBezTo>
                  <a:pt x="3443227" y="2638180"/>
                  <a:pt x="3405071" y="2664770"/>
                  <a:pt x="3369228" y="2693672"/>
                </a:cubicBezTo>
                <a:cubicBezTo>
                  <a:pt x="3344948" y="2712169"/>
                  <a:pt x="3321823" y="2732978"/>
                  <a:pt x="3299855" y="2754944"/>
                </a:cubicBezTo>
                <a:cubicBezTo>
                  <a:pt x="3277887" y="2776910"/>
                  <a:pt x="3255919" y="2801187"/>
                  <a:pt x="3236263" y="2826621"/>
                </a:cubicBezTo>
                <a:cubicBezTo>
                  <a:pt x="3208514" y="2861304"/>
                  <a:pt x="3183077" y="2898298"/>
                  <a:pt x="3161109" y="2936449"/>
                </a:cubicBezTo>
                <a:cubicBezTo>
                  <a:pt x="3137984" y="2978068"/>
                  <a:pt x="3117172" y="3020843"/>
                  <a:pt x="3099829" y="3065930"/>
                </a:cubicBezTo>
                <a:cubicBezTo>
                  <a:pt x="3099829" y="3067086"/>
                  <a:pt x="3098673" y="3069398"/>
                  <a:pt x="3097516" y="3071710"/>
                </a:cubicBezTo>
                <a:cubicBezTo>
                  <a:pt x="3094048" y="3082115"/>
                  <a:pt x="3090579" y="3092520"/>
                  <a:pt x="3087110" y="3102925"/>
                </a:cubicBezTo>
                <a:cubicBezTo>
                  <a:pt x="3082486" y="3117954"/>
                  <a:pt x="3077861" y="3132983"/>
                  <a:pt x="3073236" y="3149168"/>
                </a:cubicBezTo>
                <a:cubicBezTo>
                  <a:pt x="3053580" y="3222001"/>
                  <a:pt x="3043174" y="3297146"/>
                  <a:pt x="3043174" y="3375760"/>
                </a:cubicBezTo>
                <a:cubicBezTo>
                  <a:pt x="3043174" y="3454374"/>
                  <a:pt x="3053580" y="3530675"/>
                  <a:pt x="3073236" y="3603508"/>
                </a:cubicBezTo>
                <a:cubicBezTo>
                  <a:pt x="3080173" y="3630098"/>
                  <a:pt x="3089423" y="3655532"/>
                  <a:pt x="3098673" y="3680966"/>
                </a:cubicBezTo>
                <a:cubicBezTo>
                  <a:pt x="3113704" y="3723741"/>
                  <a:pt x="3133359" y="3765360"/>
                  <a:pt x="3155328" y="3805823"/>
                </a:cubicBezTo>
                <a:cubicBezTo>
                  <a:pt x="3157640" y="3808135"/>
                  <a:pt x="3158796" y="3811603"/>
                  <a:pt x="3161109" y="3815071"/>
                </a:cubicBezTo>
                <a:cubicBezTo>
                  <a:pt x="3161109" y="3815071"/>
                  <a:pt x="3161109" y="3815071"/>
                  <a:pt x="3161109" y="3816227"/>
                </a:cubicBezTo>
                <a:cubicBezTo>
                  <a:pt x="3199264" y="3882124"/>
                  <a:pt x="3228169" y="3953801"/>
                  <a:pt x="3248981" y="4028947"/>
                </a:cubicBezTo>
                <a:cubicBezTo>
                  <a:pt x="3268637" y="4100624"/>
                  <a:pt x="3279043" y="4176925"/>
                  <a:pt x="3279043" y="4255539"/>
                </a:cubicBezTo>
                <a:cubicBezTo>
                  <a:pt x="3279043" y="4323748"/>
                  <a:pt x="3270950" y="4390800"/>
                  <a:pt x="3255919" y="4454385"/>
                </a:cubicBezTo>
                <a:cubicBezTo>
                  <a:pt x="3253606" y="4463634"/>
                  <a:pt x="3251294" y="4474038"/>
                  <a:pt x="3248981" y="4483287"/>
                </a:cubicBezTo>
                <a:cubicBezTo>
                  <a:pt x="3247825" y="4487911"/>
                  <a:pt x="3245513" y="4492536"/>
                  <a:pt x="3244357" y="4498316"/>
                </a:cubicBezTo>
                <a:cubicBezTo>
                  <a:pt x="3240888" y="4511033"/>
                  <a:pt x="3236263" y="4524906"/>
                  <a:pt x="3231638" y="4538779"/>
                </a:cubicBezTo>
                <a:cubicBezTo>
                  <a:pt x="3222388" y="4567681"/>
                  <a:pt x="3210826" y="4596583"/>
                  <a:pt x="3198108" y="4624329"/>
                </a:cubicBezTo>
                <a:cubicBezTo>
                  <a:pt x="3191170" y="4639358"/>
                  <a:pt x="3183077" y="4654387"/>
                  <a:pt x="3174983" y="4669416"/>
                </a:cubicBezTo>
                <a:cubicBezTo>
                  <a:pt x="3170358" y="4677509"/>
                  <a:pt x="3165734" y="4686757"/>
                  <a:pt x="3161109" y="4694850"/>
                </a:cubicBezTo>
                <a:cubicBezTo>
                  <a:pt x="3122953" y="4761903"/>
                  <a:pt x="3076704" y="4823175"/>
                  <a:pt x="3022362" y="4877511"/>
                </a:cubicBezTo>
                <a:cubicBezTo>
                  <a:pt x="3015425" y="4883291"/>
                  <a:pt x="3009644" y="4889072"/>
                  <a:pt x="3002706" y="4896008"/>
                </a:cubicBezTo>
                <a:cubicBezTo>
                  <a:pt x="3001550" y="4897164"/>
                  <a:pt x="2999238" y="4899477"/>
                  <a:pt x="2996925" y="4900633"/>
                </a:cubicBezTo>
                <a:cubicBezTo>
                  <a:pt x="2992300" y="4905257"/>
                  <a:pt x="2987675" y="4909881"/>
                  <a:pt x="2983051" y="4913349"/>
                </a:cubicBezTo>
                <a:cubicBezTo>
                  <a:pt x="2980738" y="4915662"/>
                  <a:pt x="2978426" y="4917974"/>
                  <a:pt x="2976113" y="4919130"/>
                </a:cubicBezTo>
                <a:cubicBezTo>
                  <a:pt x="2971488" y="4923754"/>
                  <a:pt x="2966863" y="4927222"/>
                  <a:pt x="2962239" y="4930691"/>
                </a:cubicBezTo>
                <a:cubicBezTo>
                  <a:pt x="2959926" y="4933003"/>
                  <a:pt x="2957614" y="4935315"/>
                  <a:pt x="2955301" y="4936471"/>
                </a:cubicBezTo>
                <a:cubicBezTo>
                  <a:pt x="2950676" y="4941095"/>
                  <a:pt x="2944895" y="4945720"/>
                  <a:pt x="2939114" y="4949188"/>
                </a:cubicBezTo>
                <a:cubicBezTo>
                  <a:pt x="2937958" y="4950344"/>
                  <a:pt x="2936802" y="4951500"/>
                  <a:pt x="2934489" y="4952656"/>
                </a:cubicBezTo>
                <a:cubicBezTo>
                  <a:pt x="2927552" y="4958437"/>
                  <a:pt x="2920615" y="4964217"/>
                  <a:pt x="2913677" y="4968841"/>
                </a:cubicBezTo>
                <a:cubicBezTo>
                  <a:pt x="2911365" y="4969998"/>
                  <a:pt x="2910209" y="4971154"/>
                  <a:pt x="2907896" y="4972310"/>
                </a:cubicBezTo>
                <a:cubicBezTo>
                  <a:pt x="2902115" y="4976934"/>
                  <a:pt x="2897490" y="4980402"/>
                  <a:pt x="2891709" y="4983871"/>
                </a:cubicBezTo>
                <a:cubicBezTo>
                  <a:pt x="2889397" y="4986183"/>
                  <a:pt x="2885928" y="4987339"/>
                  <a:pt x="2883616" y="4989651"/>
                </a:cubicBezTo>
                <a:cubicBezTo>
                  <a:pt x="2881303" y="4990807"/>
                  <a:pt x="2877834" y="4993119"/>
                  <a:pt x="2875522" y="4994275"/>
                </a:cubicBezTo>
                <a:cubicBezTo>
                  <a:pt x="2875522" y="4994275"/>
                  <a:pt x="2875522" y="4994275"/>
                  <a:pt x="1922796" y="4994275"/>
                </a:cubicBezTo>
                <a:cubicBezTo>
                  <a:pt x="1922796" y="4994275"/>
                  <a:pt x="1922796" y="4994275"/>
                  <a:pt x="957351" y="4435888"/>
                </a:cubicBezTo>
                <a:cubicBezTo>
                  <a:pt x="957351" y="4435888"/>
                  <a:pt x="957351" y="4435888"/>
                  <a:pt x="440520" y="4136462"/>
                </a:cubicBezTo>
                <a:cubicBezTo>
                  <a:pt x="439364" y="4136462"/>
                  <a:pt x="439364" y="4136462"/>
                  <a:pt x="439364" y="4136462"/>
                </a:cubicBezTo>
                <a:cubicBezTo>
                  <a:pt x="406990" y="4117965"/>
                  <a:pt x="374616" y="4095999"/>
                  <a:pt x="343398" y="4072878"/>
                </a:cubicBezTo>
                <a:cubicBezTo>
                  <a:pt x="313336" y="4049756"/>
                  <a:pt x="284431" y="4024322"/>
                  <a:pt x="257837" y="3997732"/>
                </a:cubicBezTo>
                <a:cubicBezTo>
                  <a:pt x="231244" y="3971142"/>
                  <a:pt x="205807" y="3942240"/>
                  <a:pt x="182683" y="3912182"/>
                </a:cubicBezTo>
                <a:cubicBezTo>
                  <a:pt x="160715" y="3882124"/>
                  <a:pt x="139903" y="3852066"/>
                  <a:pt x="120247" y="3819696"/>
                </a:cubicBezTo>
                <a:cubicBezTo>
                  <a:pt x="120247" y="3817383"/>
                  <a:pt x="119091" y="3816227"/>
                  <a:pt x="117935" y="3815071"/>
                </a:cubicBezTo>
                <a:cubicBezTo>
                  <a:pt x="116778" y="3812759"/>
                  <a:pt x="115622" y="3810447"/>
                  <a:pt x="114466" y="3806979"/>
                </a:cubicBezTo>
                <a:cubicBezTo>
                  <a:pt x="90185" y="3765360"/>
                  <a:pt x="70530" y="3721429"/>
                  <a:pt x="53186" y="3675185"/>
                </a:cubicBezTo>
                <a:cubicBezTo>
                  <a:pt x="45093" y="3652064"/>
                  <a:pt x="36999" y="3627786"/>
                  <a:pt x="31218" y="3603508"/>
                </a:cubicBezTo>
                <a:cubicBezTo>
                  <a:pt x="11562" y="3530675"/>
                  <a:pt x="0" y="3454374"/>
                  <a:pt x="0" y="3375760"/>
                </a:cubicBezTo>
                <a:cubicBezTo>
                  <a:pt x="0" y="3297146"/>
                  <a:pt x="11562" y="3222001"/>
                  <a:pt x="31218" y="3149168"/>
                </a:cubicBezTo>
                <a:cubicBezTo>
                  <a:pt x="35843" y="3129515"/>
                  <a:pt x="41624" y="3111017"/>
                  <a:pt x="47405" y="3093676"/>
                </a:cubicBezTo>
                <a:cubicBezTo>
                  <a:pt x="61280" y="3054369"/>
                  <a:pt x="76311" y="3017375"/>
                  <a:pt x="94810" y="2980380"/>
                </a:cubicBezTo>
                <a:cubicBezTo>
                  <a:pt x="101748" y="2966507"/>
                  <a:pt x="109841" y="2951478"/>
                  <a:pt x="117935" y="2936449"/>
                </a:cubicBezTo>
                <a:cubicBezTo>
                  <a:pt x="117935" y="2936449"/>
                  <a:pt x="119091" y="2936449"/>
                  <a:pt x="119091" y="2936449"/>
                </a:cubicBezTo>
                <a:cubicBezTo>
                  <a:pt x="119091" y="2936449"/>
                  <a:pt x="119091" y="2936449"/>
                  <a:pt x="117935" y="2935293"/>
                </a:cubicBezTo>
                <a:cubicBezTo>
                  <a:pt x="120247" y="2931825"/>
                  <a:pt x="122560" y="2928356"/>
                  <a:pt x="124872" y="2924888"/>
                </a:cubicBezTo>
                <a:cubicBezTo>
                  <a:pt x="144528" y="2887893"/>
                  <a:pt x="163027" y="2849743"/>
                  <a:pt x="178058" y="2809280"/>
                </a:cubicBezTo>
                <a:cubicBezTo>
                  <a:pt x="188464" y="2781534"/>
                  <a:pt x="197714" y="2752632"/>
                  <a:pt x="205807" y="2723730"/>
                </a:cubicBezTo>
                <a:cubicBezTo>
                  <a:pt x="210432" y="2706388"/>
                  <a:pt x="215057" y="2689047"/>
                  <a:pt x="218526" y="2671706"/>
                </a:cubicBezTo>
                <a:cubicBezTo>
                  <a:pt x="230088" y="2615058"/>
                  <a:pt x="237025" y="2556098"/>
                  <a:pt x="237025" y="2495982"/>
                </a:cubicBezTo>
                <a:cubicBezTo>
                  <a:pt x="237025" y="2433553"/>
                  <a:pt x="228932" y="2372281"/>
                  <a:pt x="216213" y="2313321"/>
                </a:cubicBezTo>
                <a:cubicBezTo>
                  <a:pt x="213901" y="2298291"/>
                  <a:pt x="209276" y="2283262"/>
                  <a:pt x="205807" y="2269389"/>
                </a:cubicBezTo>
                <a:cubicBezTo>
                  <a:pt x="203495" y="2260141"/>
                  <a:pt x="201183" y="2249736"/>
                  <a:pt x="197714" y="2240487"/>
                </a:cubicBezTo>
                <a:cubicBezTo>
                  <a:pt x="178058" y="2175747"/>
                  <a:pt x="151465" y="2114474"/>
                  <a:pt x="117935" y="2057826"/>
                </a:cubicBezTo>
                <a:cubicBezTo>
                  <a:pt x="79779" y="1991930"/>
                  <a:pt x="50874" y="1920253"/>
                  <a:pt x="31218" y="1845107"/>
                </a:cubicBezTo>
                <a:cubicBezTo>
                  <a:pt x="11562" y="1772274"/>
                  <a:pt x="0" y="1697129"/>
                  <a:pt x="0" y="1618515"/>
                </a:cubicBezTo>
                <a:cubicBezTo>
                  <a:pt x="0" y="1539902"/>
                  <a:pt x="11562" y="1463600"/>
                  <a:pt x="31218" y="1390767"/>
                </a:cubicBezTo>
                <a:cubicBezTo>
                  <a:pt x="35843" y="1372270"/>
                  <a:pt x="41624" y="1353772"/>
                  <a:pt x="47405" y="1335275"/>
                </a:cubicBezTo>
                <a:cubicBezTo>
                  <a:pt x="65905" y="1280939"/>
                  <a:pt x="90185" y="1227759"/>
                  <a:pt x="117935" y="1179204"/>
                </a:cubicBezTo>
                <a:cubicBezTo>
                  <a:pt x="121403" y="1173424"/>
                  <a:pt x="124872" y="1168799"/>
                  <a:pt x="128341" y="1163019"/>
                </a:cubicBezTo>
                <a:cubicBezTo>
                  <a:pt x="151465" y="1124868"/>
                  <a:pt x="176902" y="1087874"/>
                  <a:pt x="205807" y="1053191"/>
                </a:cubicBezTo>
                <a:cubicBezTo>
                  <a:pt x="221995" y="1033538"/>
                  <a:pt x="239338" y="1015040"/>
                  <a:pt x="257837" y="996543"/>
                </a:cubicBezTo>
                <a:cubicBezTo>
                  <a:pt x="311024" y="942207"/>
                  <a:pt x="373460" y="895964"/>
                  <a:pt x="439364" y="857813"/>
                </a:cubicBezTo>
                <a:cubicBezTo>
                  <a:pt x="439364" y="857813"/>
                  <a:pt x="439364" y="857813"/>
                  <a:pt x="1923952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96640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96640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6448F3-0B04-E471-B713-F1893B39E9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125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84" t="2925" r="9124" b="489"/>
          <a:stretch/>
        </p:blipFill>
        <p:spPr>
          <a:xfrm>
            <a:off x="4734046" y="-1"/>
            <a:ext cx="7457955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A858CF-56FA-DFA9-4BBB-9CB4F3753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3562350" cy="228028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174700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6F0B4F-BE9C-C410-D151-E3F0FF8BACA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224163" y="-1"/>
            <a:ext cx="8967837" cy="6858000"/>
          </a:xfrm>
          <a:custGeom>
            <a:avLst/>
            <a:gdLst>
              <a:gd name="connsiteX0" fmla="*/ 0 w 6869113"/>
              <a:gd name="connsiteY0" fmla="*/ 0 h 5253037"/>
              <a:gd name="connsiteX1" fmla="*/ 6869113 w 6869113"/>
              <a:gd name="connsiteY1" fmla="*/ 0 h 5253037"/>
              <a:gd name="connsiteX2" fmla="*/ 6869113 w 6869113"/>
              <a:gd name="connsiteY2" fmla="*/ 5253037 h 5253037"/>
              <a:gd name="connsiteX3" fmla="*/ 1750402 w 6869113"/>
              <a:gd name="connsiteY3" fmla="*/ 5253037 h 5253037"/>
              <a:gd name="connsiteX4" fmla="*/ 2566041 w 6869113"/>
              <a:gd name="connsiteY4" fmla="*/ 2897682 h 5253037"/>
              <a:gd name="connsiteX5" fmla="*/ 2632897 w 6869113"/>
              <a:gd name="connsiteY5" fmla="*/ 2704341 h 5253037"/>
              <a:gd name="connsiteX6" fmla="*/ 2632897 w 6869113"/>
              <a:gd name="connsiteY6" fmla="*/ 2703125 h 5253037"/>
              <a:gd name="connsiteX7" fmla="*/ 2665717 w 6869113"/>
              <a:gd name="connsiteY7" fmla="*/ 2538968 h 5253037"/>
              <a:gd name="connsiteX8" fmla="*/ 2680303 w 6869113"/>
              <a:gd name="connsiteY8" fmla="*/ 2345627 h 5253037"/>
              <a:gd name="connsiteX9" fmla="*/ 2666932 w 6869113"/>
              <a:gd name="connsiteY9" fmla="*/ 2151070 h 5253037"/>
              <a:gd name="connsiteX10" fmla="*/ 2634112 w 6869113"/>
              <a:gd name="connsiteY10" fmla="*/ 1988129 h 5253037"/>
              <a:gd name="connsiteX11" fmla="*/ 2611017 w 6869113"/>
              <a:gd name="connsiteY11" fmla="*/ 1911522 h 5253037"/>
              <a:gd name="connsiteX12" fmla="*/ 2495539 w 6869113"/>
              <a:gd name="connsiteY12" fmla="*/ 1656166 h 5253037"/>
              <a:gd name="connsiteX13" fmla="*/ 2275523 w 6869113"/>
              <a:gd name="connsiteY13" fmla="*/ 1370411 h 5253037"/>
              <a:gd name="connsiteX14" fmla="*/ 1991083 w 6869113"/>
              <a:gd name="connsiteY14" fmla="*/ 1150318 h 5253037"/>
              <a:gd name="connsiteX15" fmla="*/ 0 w 6869113"/>
              <a:gd name="connsiteY15" fmla="*/ 0 h 525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69113" h="5253037">
                <a:moveTo>
                  <a:pt x="0" y="0"/>
                </a:moveTo>
                <a:cubicBezTo>
                  <a:pt x="0" y="0"/>
                  <a:pt x="0" y="0"/>
                  <a:pt x="6869113" y="0"/>
                </a:cubicBezTo>
                <a:lnTo>
                  <a:pt x="6869113" y="5253037"/>
                </a:lnTo>
                <a:cubicBezTo>
                  <a:pt x="6869113" y="5253037"/>
                  <a:pt x="6869113" y="5253037"/>
                  <a:pt x="1750402" y="5253037"/>
                </a:cubicBezTo>
                <a:cubicBezTo>
                  <a:pt x="1750402" y="5253037"/>
                  <a:pt x="1750402" y="5253037"/>
                  <a:pt x="2566041" y="2897682"/>
                </a:cubicBezTo>
                <a:cubicBezTo>
                  <a:pt x="2592783" y="2834451"/>
                  <a:pt x="2614663" y="2770004"/>
                  <a:pt x="2632897" y="2704341"/>
                </a:cubicBezTo>
                <a:cubicBezTo>
                  <a:pt x="2632897" y="2704341"/>
                  <a:pt x="2632897" y="2703125"/>
                  <a:pt x="2632897" y="2703125"/>
                </a:cubicBezTo>
                <a:cubicBezTo>
                  <a:pt x="2647483" y="2648406"/>
                  <a:pt x="2658423" y="2593687"/>
                  <a:pt x="2665717" y="2538968"/>
                </a:cubicBezTo>
                <a:cubicBezTo>
                  <a:pt x="2675441" y="2474521"/>
                  <a:pt x="2680303" y="2410074"/>
                  <a:pt x="2680303" y="2345627"/>
                </a:cubicBezTo>
                <a:cubicBezTo>
                  <a:pt x="2680303" y="2279964"/>
                  <a:pt x="2675441" y="2215517"/>
                  <a:pt x="2666932" y="2151070"/>
                </a:cubicBezTo>
                <a:cubicBezTo>
                  <a:pt x="2658423" y="2096351"/>
                  <a:pt x="2648699" y="2041632"/>
                  <a:pt x="2634112" y="1988129"/>
                </a:cubicBezTo>
                <a:cubicBezTo>
                  <a:pt x="2626819" y="1962593"/>
                  <a:pt x="2619526" y="1937058"/>
                  <a:pt x="2611017" y="1911522"/>
                </a:cubicBezTo>
                <a:cubicBezTo>
                  <a:pt x="2580628" y="1822755"/>
                  <a:pt x="2541730" y="1737637"/>
                  <a:pt x="2495539" y="1656166"/>
                </a:cubicBezTo>
                <a:cubicBezTo>
                  <a:pt x="2435976" y="1552808"/>
                  <a:pt x="2363043" y="1456745"/>
                  <a:pt x="2275523" y="1370411"/>
                </a:cubicBezTo>
                <a:cubicBezTo>
                  <a:pt x="2192865" y="1286508"/>
                  <a:pt x="2098052" y="1212333"/>
                  <a:pt x="1991083" y="1150318"/>
                </a:cubicBezTo>
                <a:cubicBezTo>
                  <a:pt x="1991083" y="1150318"/>
                  <a:pt x="1991083" y="1150318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6665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F47440-5016-B541-7D6A-5BD45E9336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776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066F47-2899-6B2C-AE22-1C43D98EE9A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587031" y="0"/>
            <a:ext cx="6604969" cy="6858000"/>
          </a:xfrm>
          <a:custGeom>
            <a:avLst/>
            <a:gdLst>
              <a:gd name="connsiteX0" fmla="*/ 853927 w 4806950"/>
              <a:gd name="connsiteY0" fmla="*/ 0 h 4991100"/>
              <a:gd name="connsiteX1" fmla="*/ 4806950 w 4806950"/>
              <a:gd name="connsiteY1" fmla="*/ 0 h 4991100"/>
              <a:gd name="connsiteX2" fmla="*/ 4806950 w 4806950"/>
              <a:gd name="connsiteY2" fmla="*/ 4991100 h 4991100"/>
              <a:gd name="connsiteX3" fmla="*/ 0 w 4806950"/>
              <a:gd name="connsiteY3" fmla="*/ 4991100 h 4991100"/>
              <a:gd name="connsiteX4" fmla="*/ 461051 w 4806950"/>
              <a:gd name="connsiteY4" fmla="*/ 4325620 h 4991100"/>
              <a:gd name="connsiteX5" fmla="*/ 972945 w 4806950"/>
              <a:gd name="connsiteY5" fmla="*/ 3075534 h 4991100"/>
              <a:gd name="connsiteX6" fmla="*/ 1150895 w 4806950"/>
              <a:gd name="connsiteY6" fmla="*/ 1735332 h 4991100"/>
              <a:gd name="connsiteX7" fmla="*/ 978723 w 4806950"/>
              <a:gd name="connsiteY7" fmla="*/ 395129 h 4991100"/>
              <a:gd name="connsiteX8" fmla="*/ 853927 w 4806950"/>
              <a:gd name="connsiteY8" fmla="*/ 0 h 499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6950" h="4991100">
                <a:moveTo>
                  <a:pt x="853927" y="0"/>
                </a:moveTo>
                <a:cubicBezTo>
                  <a:pt x="853927" y="0"/>
                  <a:pt x="853927" y="0"/>
                  <a:pt x="4806950" y="0"/>
                </a:cubicBezTo>
                <a:lnTo>
                  <a:pt x="4806950" y="4991100"/>
                </a:lnTo>
                <a:cubicBezTo>
                  <a:pt x="4806950" y="4991100"/>
                  <a:pt x="4806950" y="4991100"/>
                  <a:pt x="0" y="4991100"/>
                </a:cubicBezTo>
                <a:cubicBezTo>
                  <a:pt x="168706" y="4785448"/>
                  <a:pt x="323545" y="4563622"/>
                  <a:pt x="461051" y="4325620"/>
                </a:cubicBezTo>
                <a:cubicBezTo>
                  <a:pt x="692155" y="3924715"/>
                  <a:pt x="858549" y="3503013"/>
                  <a:pt x="972945" y="3075534"/>
                </a:cubicBezTo>
                <a:cubicBezTo>
                  <a:pt x="1091964" y="2633036"/>
                  <a:pt x="1150895" y="2183606"/>
                  <a:pt x="1150895" y="1735332"/>
                </a:cubicBezTo>
                <a:cubicBezTo>
                  <a:pt x="1149739" y="1281280"/>
                  <a:pt x="1095430" y="830695"/>
                  <a:pt x="978723" y="395129"/>
                </a:cubicBezTo>
                <a:cubicBezTo>
                  <a:pt x="942902" y="261109"/>
                  <a:pt x="901303" y="129399"/>
                  <a:pt x="853927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7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A822C7-738C-C36C-9B81-490D98197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47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yellow and orange liquid&#10;&#10;Description automatically generated">
            <a:extLst>
              <a:ext uri="{FF2B5EF4-FFF2-40B4-BE49-F238E27FC236}">
                <a16:creationId xmlns:a16="http://schemas.microsoft.com/office/drawing/2014/main" id="{A1113F07-A0CB-A3E3-0EDA-3A4FBD2A0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400" y="-9426"/>
            <a:ext cx="7061127" cy="68688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25A3139-60F1-043D-8D3D-180EE60F11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279010" y="-1491"/>
            <a:ext cx="6912990" cy="6250312"/>
          </a:xfrm>
          <a:custGeom>
            <a:avLst/>
            <a:gdLst>
              <a:gd name="connsiteX0" fmla="*/ 0 w 4984750"/>
              <a:gd name="connsiteY0" fmla="*/ 0 h 4506913"/>
              <a:gd name="connsiteX1" fmla="*/ 4984750 w 4984750"/>
              <a:gd name="connsiteY1" fmla="*/ 0 h 4506913"/>
              <a:gd name="connsiteX2" fmla="*/ 4984750 w 4984750"/>
              <a:gd name="connsiteY2" fmla="*/ 4506913 h 4506913"/>
              <a:gd name="connsiteX3" fmla="*/ 4870421 w 4984750"/>
              <a:gd name="connsiteY3" fmla="*/ 4448590 h 4506913"/>
              <a:gd name="connsiteX4" fmla="*/ 4697784 w 4984750"/>
              <a:gd name="connsiteY4" fmla="*/ 4325081 h 4506913"/>
              <a:gd name="connsiteX5" fmla="*/ 4645193 w 4984750"/>
              <a:gd name="connsiteY5" fmla="*/ 4275907 h 4506913"/>
              <a:gd name="connsiteX6" fmla="*/ 4471412 w 4984750"/>
              <a:gd name="connsiteY6" fmla="*/ 4050618 h 4506913"/>
              <a:gd name="connsiteX7" fmla="*/ 4362800 w 4984750"/>
              <a:gd name="connsiteY7" fmla="*/ 3787591 h 4506913"/>
              <a:gd name="connsiteX8" fmla="*/ 4326214 w 4984750"/>
              <a:gd name="connsiteY8" fmla="*/ 3505123 h 4506913"/>
              <a:gd name="connsiteX9" fmla="*/ 4326214 w 4984750"/>
              <a:gd name="connsiteY9" fmla="*/ 3503979 h 4506913"/>
              <a:gd name="connsiteX10" fmla="*/ 4325071 w 4984750"/>
              <a:gd name="connsiteY10" fmla="*/ 3503979 h 4506913"/>
              <a:gd name="connsiteX11" fmla="*/ 4287343 w 4984750"/>
              <a:gd name="connsiteY11" fmla="*/ 3221511 h 4506913"/>
              <a:gd name="connsiteX12" fmla="*/ 4179873 w 4984750"/>
              <a:gd name="connsiteY12" fmla="*/ 2958484 h 4506913"/>
              <a:gd name="connsiteX13" fmla="*/ 4006093 w 4984750"/>
              <a:gd name="connsiteY13" fmla="*/ 2733195 h 4506913"/>
              <a:gd name="connsiteX14" fmla="*/ 3779721 w 4984750"/>
              <a:gd name="connsiteY14" fmla="*/ 2559369 h 4506913"/>
              <a:gd name="connsiteX15" fmla="*/ 3517907 w 4984750"/>
              <a:gd name="connsiteY15" fmla="*/ 2450727 h 4506913"/>
              <a:gd name="connsiteX16" fmla="*/ 3235514 w 4984750"/>
              <a:gd name="connsiteY16" fmla="*/ 2414132 h 4506913"/>
              <a:gd name="connsiteX17" fmla="*/ 2953122 w 4984750"/>
              <a:gd name="connsiteY17" fmla="*/ 2450727 h 4506913"/>
              <a:gd name="connsiteX18" fmla="*/ 2690165 w 4984750"/>
              <a:gd name="connsiteY18" fmla="*/ 2559369 h 4506913"/>
              <a:gd name="connsiteX19" fmla="*/ 2427208 w 4984750"/>
              <a:gd name="connsiteY19" fmla="*/ 2666867 h 4506913"/>
              <a:gd name="connsiteX20" fmla="*/ 2144815 w 4984750"/>
              <a:gd name="connsiteY20" fmla="*/ 2704605 h 4506913"/>
              <a:gd name="connsiteX21" fmla="*/ 1862422 w 4984750"/>
              <a:gd name="connsiteY21" fmla="*/ 2668010 h 4506913"/>
              <a:gd name="connsiteX22" fmla="*/ 1600608 w 4984750"/>
              <a:gd name="connsiteY22" fmla="*/ 2558225 h 4506913"/>
              <a:gd name="connsiteX23" fmla="*/ 1426828 w 4984750"/>
              <a:gd name="connsiteY23" fmla="*/ 2434717 h 4506913"/>
              <a:gd name="connsiteX24" fmla="*/ 1374236 w 4984750"/>
              <a:gd name="connsiteY24" fmla="*/ 2385542 h 4506913"/>
              <a:gd name="connsiteX25" fmla="*/ 1200456 w 4984750"/>
              <a:gd name="connsiteY25" fmla="*/ 2160254 h 4506913"/>
              <a:gd name="connsiteX26" fmla="*/ 1027819 w 4984750"/>
              <a:gd name="connsiteY26" fmla="*/ 1860631 h 4506913"/>
              <a:gd name="connsiteX27" fmla="*/ 109756 w 4984750"/>
              <a:gd name="connsiteY27" fmla="*/ 271032 h 4506913"/>
              <a:gd name="connsiteX28" fmla="*/ 2287 w 4984750"/>
              <a:gd name="connsiteY28" fmla="*/ 6862 h 4506913"/>
              <a:gd name="connsiteX29" fmla="*/ 0 w 4984750"/>
              <a:gd name="connsiteY29" fmla="*/ 0 h 4506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984750" h="4506913">
                <a:moveTo>
                  <a:pt x="0" y="0"/>
                </a:moveTo>
                <a:lnTo>
                  <a:pt x="4984750" y="0"/>
                </a:lnTo>
                <a:cubicBezTo>
                  <a:pt x="4984750" y="0"/>
                  <a:pt x="4984750" y="0"/>
                  <a:pt x="4984750" y="4506913"/>
                </a:cubicBezTo>
                <a:cubicBezTo>
                  <a:pt x="4945878" y="4489759"/>
                  <a:pt x="4908150" y="4470318"/>
                  <a:pt x="4870421" y="4448590"/>
                </a:cubicBezTo>
                <a:cubicBezTo>
                  <a:pt x="4809827" y="4414282"/>
                  <a:pt x="4751519" y="4371969"/>
                  <a:pt x="4697784" y="4325081"/>
                </a:cubicBezTo>
                <a:cubicBezTo>
                  <a:pt x="4679491" y="4309071"/>
                  <a:pt x="4662342" y="4293061"/>
                  <a:pt x="4645193" y="4275907"/>
                </a:cubicBezTo>
                <a:cubicBezTo>
                  <a:pt x="4578882" y="4209578"/>
                  <a:pt x="4519431" y="4135244"/>
                  <a:pt x="4471412" y="4050618"/>
                </a:cubicBezTo>
                <a:cubicBezTo>
                  <a:pt x="4422251" y="3965992"/>
                  <a:pt x="4386809" y="3876792"/>
                  <a:pt x="4362800" y="3787591"/>
                </a:cubicBezTo>
                <a:cubicBezTo>
                  <a:pt x="4337647" y="3693816"/>
                  <a:pt x="4326214" y="3598898"/>
                  <a:pt x="4326214" y="3505123"/>
                </a:cubicBezTo>
                <a:cubicBezTo>
                  <a:pt x="4326214" y="3505123"/>
                  <a:pt x="4326214" y="3503979"/>
                  <a:pt x="4326214" y="3503979"/>
                </a:cubicBezTo>
                <a:cubicBezTo>
                  <a:pt x="4326214" y="3503979"/>
                  <a:pt x="4326214" y="3503979"/>
                  <a:pt x="4325071" y="3503979"/>
                </a:cubicBezTo>
                <a:cubicBezTo>
                  <a:pt x="4325071" y="3409061"/>
                  <a:pt x="4312495" y="3315286"/>
                  <a:pt x="4287343" y="3221511"/>
                </a:cubicBezTo>
                <a:cubicBezTo>
                  <a:pt x="4263333" y="3131167"/>
                  <a:pt x="4229035" y="3043110"/>
                  <a:pt x="4179873" y="2958484"/>
                </a:cubicBezTo>
                <a:cubicBezTo>
                  <a:pt x="4130712" y="2873858"/>
                  <a:pt x="4071260" y="2799524"/>
                  <a:pt x="4006093" y="2733195"/>
                </a:cubicBezTo>
                <a:cubicBezTo>
                  <a:pt x="3937495" y="2664579"/>
                  <a:pt x="3862038" y="2607400"/>
                  <a:pt x="3779721" y="2559369"/>
                </a:cubicBezTo>
                <a:cubicBezTo>
                  <a:pt x="3697404" y="2512481"/>
                  <a:pt x="3609371" y="2474743"/>
                  <a:pt x="3517907" y="2450727"/>
                </a:cubicBezTo>
                <a:cubicBezTo>
                  <a:pt x="3426444" y="2425568"/>
                  <a:pt x="3331551" y="2414132"/>
                  <a:pt x="3235514" y="2414132"/>
                </a:cubicBezTo>
                <a:cubicBezTo>
                  <a:pt x="3141765" y="2414132"/>
                  <a:pt x="3046871" y="2426711"/>
                  <a:pt x="2953122" y="2450727"/>
                </a:cubicBezTo>
                <a:cubicBezTo>
                  <a:pt x="2863945" y="2475886"/>
                  <a:pt x="2774768" y="2510194"/>
                  <a:pt x="2690165" y="2559369"/>
                </a:cubicBezTo>
                <a:cubicBezTo>
                  <a:pt x="2605561" y="2608543"/>
                  <a:pt x="2517528" y="2642851"/>
                  <a:pt x="2427208" y="2666867"/>
                </a:cubicBezTo>
                <a:cubicBezTo>
                  <a:pt x="2333458" y="2692026"/>
                  <a:pt x="2239708" y="2704605"/>
                  <a:pt x="2144815" y="2704605"/>
                </a:cubicBezTo>
                <a:cubicBezTo>
                  <a:pt x="2049921" y="2704605"/>
                  <a:pt x="1953885" y="2693169"/>
                  <a:pt x="1862422" y="2668010"/>
                </a:cubicBezTo>
                <a:cubicBezTo>
                  <a:pt x="1770958" y="2643995"/>
                  <a:pt x="1682925" y="2606256"/>
                  <a:pt x="1600608" y="2558225"/>
                </a:cubicBezTo>
                <a:cubicBezTo>
                  <a:pt x="1538870" y="2522774"/>
                  <a:pt x="1480562" y="2481604"/>
                  <a:pt x="1426828" y="2434717"/>
                </a:cubicBezTo>
                <a:cubicBezTo>
                  <a:pt x="1409678" y="2418706"/>
                  <a:pt x="1391386" y="2402696"/>
                  <a:pt x="1374236" y="2385542"/>
                </a:cubicBezTo>
                <a:cubicBezTo>
                  <a:pt x="1309069" y="2319213"/>
                  <a:pt x="1249618" y="2244880"/>
                  <a:pt x="1200456" y="2160254"/>
                </a:cubicBezTo>
                <a:cubicBezTo>
                  <a:pt x="1200456" y="2160254"/>
                  <a:pt x="1200456" y="2160254"/>
                  <a:pt x="1027819" y="1860631"/>
                </a:cubicBezTo>
                <a:cubicBezTo>
                  <a:pt x="1027819" y="1860631"/>
                  <a:pt x="1027819" y="1860631"/>
                  <a:pt x="109756" y="271032"/>
                </a:cubicBezTo>
                <a:cubicBezTo>
                  <a:pt x="61738" y="186406"/>
                  <a:pt x="26296" y="97206"/>
                  <a:pt x="2287" y="6862"/>
                </a:cubicBezTo>
                <a:cubicBezTo>
                  <a:pt x="1143" y="4575"/>
                  <a:pt x="1143" y="2287"/>
                  <a:pt x="0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78D332-D7CF-AC4A-776D-270BD5CFE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5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61289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 descr="A colorful logo with a white background&#10;&#10;Description automatically generated">
            <a:extLst>
              <a:ext uri="{FF2B5EF4-FFF2-40B4-BE49-F238E27FC236}">
                <a16:creationId xmlns:a16="http://schemas.microsoft.com/office/drawing/2014/main" id="{F576D057-6A6B-9C97-5077-7B2771E2D2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288" y="0"/>
            <a:ext cx="6839712" cy="6858000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>
            <a:extLst>
              <a:ext uri="{FF2B5EF4-FFF2-40B4-BE49-F238E27FC236}">
                <a16:creationId xmlns:a16="http://schemas.microsoft.com/office/drawing/2014/main" id="{C20AF777-3D3D-1432-93C2-9B745E5BDC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5650" y="3175"/>
            <a:ext cx="4762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C02AEB46-FDFB-8F92-9DE9-47969ADA6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1488" y="3175"/>
            <a:ext cx="4763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CB283727-27DA-3938-0C6F-A559BBD5B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77225" y="1211149"/>
            <a:ext cx="3914775" cy="5645475"/>
          </a:xfrm>
          <a:custGeom>
            <a:avLst/>
            <a:gdLst>
              <a:gd name="connsiteX0" fmla="*/ 1569376 w 3914775"/>
              <a:gd name="connsiteY0" fmla="*/ 516 h 5645475"/>
              <a:gd name="connsiteX1" fmla="*/ 2292622 w 3914775"/>
              <a:gd name="connsiteY1" fmla="*/ 205112 h 5645475"/>
              <a:gd name="connsiteX2" fmla="*/ 3914775 w 3914775"/>
              <a:gd name="connsiteY2" fmla="*/ 1140150 h 5645475"/>
              <a:gd name="connsiteX3" fmla="*/ 3914775 w 3914775"/>
              <a:gd name="connsiteY3" fmla="*/ 5645475 h 5645475"/>
              <a:gd name="connsiteX4" fmla="*/ 432151 w 3914775"/>
              <a:gd name="connsiteY4" fmla="*/ 5645475 h 5645475"/>
              <a:gd name="connsiteX5" fmla="*/ 3178 w 3914775"/>
              <a:gd name="connsiteY5" fmla="*/ 4583438 h 5645475"/>
              <a:gd name="connsiteX6" fmla="*/ 0 w 3914775"/>
              <a:gd name="connsiteY6" fmla="*/ 1527500 h 5645475"/>
              <a:gd name="connsiteX7" fmla="*/ 204954 w 3914775"/>
              <a:gd name="connsiteY7" fmla="*/ 763912 h 5645475"/>
              <a:gd name="connsiteX8" fmla="*/ 1569376 w 3914775"/>
              <a:gd name="connsiteY8" fmla="*/ 516 h 564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4775" h="5645475">
                <a:moveTo>
                  <a:pt x="1569376" y="516"/>
                </a:moveTo>
                <a:cubicBezTo>
                  <a:pt x="1815830" y="6923"/>
                  <a:pt x="2064234" y="73151"/>
                  <a:pt x="2292622" y="205112"/>
                </a:cubicBezTo>
                <a:cubicBezTo>
                  <a:pt x="2292622" y="205112"/>
                  <a:pt x="2292622" y="205112"/>
                  <a:pt x="3914775" y="1140150"/>
                </a:cubicBezTo>
                <a:cubicBezTo>
                  <a:pt x="3914775" y="1140150"/>
                  <a:pt x="3914775" y="1140150"/>
                  <a:pt x="3914775" y="5645475"/>
                </a:cubicBezTo>
                <a:cubicBezTo>
                  <a:pt x="3914775" y="5645475"/>
                  <a:pt x="3914775" y="5645475"/>
                  <a:pt x="432151" y="5645475"/>
                </a:cubicBezTo>
                <a:cubicBezTo>
                  <a:pt x="166823" y="5370838"/>
                  <a:pt x="3178" y="4996188"/>
                  <a:pt x="3178" y="4583438"/>
                </a:cubicBezTo>
                <a:cubicBezTo>
                  <a:pt x="3178" y="4583438"/>
                  <a:pt x="3178" y="4583438"/>
                  <a:pt x="0" y="1527500"/>
                </a:cubicBezTo>
                <a:cubicBezTo>
                  <a:pt x="0" y="1268737"/>
                  <a:pt x="65141" y="1005212"/>
                  <a:pt x="204954" y="763912"/>
                </a:cubicBezTo>
                <a:cubicBezTo>
                  <a:pt x="494411" y="261865"/>
                  <a:pt x="1027177" y="-13578"/>
                  <a:pt x="1569376" y="516"/>
                </a:cubicBezTo>
                <a:close/>
              </a:path>
            </a:pathLst>
          </a:custGeom>
        </p:spPr>
        <p:txBody>
          <a:bodyPr wrap="square" lIns="0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47A9678-5A5F-D4A6-FE07-086AC02A084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697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AC0BD0CF-E901-1F49-7489-7018F1A846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32" y="0"/>
            <a:ext cx="3477768" cy="6858000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1D7AA62-BCA4-5372-4DCC-B435A700D2D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492700" y="0"/>
            <a:ext cx="6704013" cy="6858000"/>
          </a:xfrm>
          <a:custGeom>
            <a:avLst/>
            <a:gdLst>
              <a:gd name="connsiteX0" fmla="*/ 84669 w 4360424"/>
              <a:gd name="connsiteY0" fmla="*/ 0 h 4460580"/>
              <a:gd name="connsiteX1" fmla="*/ 2423376 w 4360424"/>
              <a:gd name="connsiteY1" fmla="*/ 0 h 4460580"/>
              <a:gd name="connsiteX2" fmla="*/ 2279852 w 4360424"/>
              <a:gd name="connsiteY2" fmla="*/ 1262799 h 4460580"/>
              <a:gd name="connsiteX3" fmla="*/ 2279852 w 4360424"/>
              <a:gd name="connsiteY3" fmla="*/ 1263831 h 4460580"/>
              <a:gd name="connsiteX4" fmla="*/ 3347501 w 4360424"/>
              <a:gd name="connsiteY4" fmla="*/ 3112081 h 4460580"/>
              <a:gd name="connsiteX5" fmla="*/ 4360424 w 4360424"/>
              <a:gd name="connsiteY5" fmla="*/ 3642807 h 4460580"/>
              <a:gd name="connsiteX6" fmla="*/ 4360424 w 4360424"/>
              <a:gd name="connsiteY6" fmla="*/ 4460580 h 4460580"/>
              <a:gd name="connsiteX7" fmla="*/ 1033 w 4360424"/>
              <a:gd name="connsiteY7" fmla="*/ 4460580 h 4460580"/>
              <a:gd name="connsiteX8" fmla="*/ 0 w 4360424"/>
              <a:gd name="connsiteY8" fmla="*/ 4428571 h 4460580"/>
              <a:gd name="connsiteX9" fmla="*/ 533824 w 4360424"/>
              <a:gd name="connsiteY9" fmla="*/ 3504447 h 4460580"/>
              <a:gd name="connsiteX10" fmla="*/ 925158 w 4360424"/>
              <a:gd name="connsiteY10" fmla="*/ 2044433 h 4460580"/>
              <a:gd name="connsiteX11" fmla="*/ 533824 w 4360424"/>
              <a:gd name="connsiteY11" fmla="*/ 1654132 h 4460580"/>
              <a:gd name="connsiteX12" fmla="*/ 0 w 4360424"/>
              <a:gd name="connsiteY12" fmla="*/ 728975 h 4460580"/>
              <a:gd name="connsiteX13" fmla="*/ 84669 w 4360424"/>
              <a:gd name="connsiteY13" fmla="*/ 0 h 446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360424" h="4460580">
                <a:moveTo>
                  <a:pt x="84669" y="0"/>
                </a:moveTo>
                <a:cubicBezTo>
                  <a:pt x="84669" y="0"/>
                  <a:pt x="84669" y="0"/>
                  <a:pt x="2423376" y="0"/>
                </a:cubicBezTo>
                <a:cubicBezTo>
                  <a:pt x="2111548" y="334544"/>
                  <a:pt x="2039270" y="845652"/>
                  <a:pt x="2279852" y="1262799"/>
                </a:cubicBezTo>
                <a:cubicBezTo>
                  <a:pt x="2279852" y="1262799"/>
                  <a:pt x="2279852" y="1263831"/>
                  <a:pt x="2279852" y="1263831"/>
                </a:cubicBezTo>
                <a:cubicBezTo>
                  <a:pt x="2279852" y="1263831"/>
                  <a:pt x="2279852" y="1263831"/>
                  <a:pt x="3347501" y="3112081"/>
                </a:cubicBezTo>
                <a:cubicBezTo>
                  <a:pt x="3561237" y="3481731"/>
                  <a:pt x="3961863" y="3675848"/>
                  <a:pt x="4360424" y="3642807"/>
                </a:cubicBezTo>
                <a:lnTo>
                  <a:pt x="4360424" y="4460580"/>
                </a:lnTo>
                <a:cubicBezTo>
                  <a:pt x="4360424" y="4460580"/>
                  <a:pt x="4360424" y="4460580"/>
                  <a:pt x="1033" y="4460580"/>
                </a:cubicBezTo>
                <a:cubicBezTo>
                  <a:pt x="0" y="4450255"/>
                  <a:pt x="0" y="4439929"/>
                  <a:pt x="0" y="4428571"/>
                </a:cubicBezTo>
                <a:cubicBezTo>
                  <a:pt x="0" y="4034140"/>
                  <a:pt x="214769" y="3689272"/>
                  <a:pt x="533824" y="3504447"/>
                </a:cubicBezTo>
                <a:cubicBezTo>
                  <a:pt x="1044932" y="3209140"/>
                  <a:pt x="1220465" y="2555541"/>
                  <a:pt x="925158" y="2044433"/>
                </a:cubicBezTo>
                <a:cubicBezTo>
                  <a:pt x="828099" y="1876128"/>
                  <a:pt x="691803" y="1743963"/>
                  <a:pt x="533824" y="1654132"/>
                </a:cubicBezTo>
                <a:cubicBezTo>
                  <a:pt x="215801" y="1469307"/>
                  <a:pt x="1033" y="1123406"/>
                  <a:pt x="0" y="728975"/>
                </a:cubicBezTo>
                <a:cubicBezTo>
                  <a:pt x="1033" y="483230"/>
                  <a:pt x="29944" y="238517"/>
                  <a:pt x="84669" y="0"/>
                </a:cubicBezTo>
                <a:close/>
              </a:path>
            </a:pathLst>
          </a:custGeom>
        </p:spPr>
        <p:txBody>
          <a:bodyPr wrap="square" lIns="360000" tIns="72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ACA29A-437E-1705-8314-A1347D9239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57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474A1109-E903-BB72-485A-720C8770A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2565698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7772400" imgH="10058400" progId="TCLayout.ActiveDocument.1">
                  <p:embed/>
                </p:oleObj>
              </mc:Choice>
              <mc:Fallback>
                <p:oleObj name="think-cell Slide" r:id="rId4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61" r:id="rId7"/>
    <p:sldLayoutId id="2147483662" r:id="rId8"/>
    <p:sldLayoutId id="2147483663" r:id="rId9"/>
    <p:sldLayoutId id="2147483649" r:id="rId10"/>
    <p:sldLayoutId id="2147483657" r:id="rId11"/>
    <p:sldLayoutId id="2147483650" r:id="rId12"/>
    <p:sldLayoutId id="2147483659" r:id="rId13"/>
    <p:sldLayoutId id="2147483660" r:id="rId14"/>
    <p:sldLayoutId id="2147483656" r:id="rId15"/>
    <p:sldLayoutId id="2147483686" r:id="rId16"/>
    <p:sldLayoutId id="2147483687" r:id="rId17"/>
    <p:sldLayoutId id="2147483681" r:id="rId18"/>
    <p:sldLayoutId id="2147483682" r:id="rId19"/>
    <p:sldLayoutId id="2147483668" r:id="rId20"/>
    <p:sldLayoutId id="2147483667" r:id="rId21"/>
    <p:sldLayoutId id="2147483669" r:id="rId22"/>
    <p:sldLayoutId id="2147483683" r:id="rId23"/>
    <p:sldLayoutId id="2147483697" r:id="rId24"/>
    <p:sldLayoutId id="2147483684" r:id="rId25"/>
    <p:sldLayoutId id="2147483672" r:id="rId26"/>
    <p:sldLayoutId id="2147483695" r:id="rId27"/>
    <p:sldLayoutId id="2147483673" r:id="rId28"/>
    <p:sldLayoutId id="2147483685" r:id="rId29"/>
    <p:sldLayoutId id="2147483688" r:id="rId30"/>
    <p:sldLayoutId id="2147483689" r:id="rId31"/>
    <p:sldLayoutId id="2147483690" r:id="rId32"/>
    <p:sldLayoutId id="2147483691" r:id="rId33"/>
    <p:sldLayoutId id="2147483670" r:id="rId34"/>
    <p:sldLayoutId id="2147483671" r:id="rId35"/>
    <p:sldLayoutId id="2147483692" r:id="rId36"/>
    <p:sldLayoutId id="2147483693" r:id="rId37"/>
    <p:sldLayoutId id="2147483694" r:id="rId38"/>
    <p:sldLayoutId id="2147483654" r:id="rId39"/>
    <p:sldLayoutId id="2147483655" r:id="rId40"/>
    <p:sldLayoutId id="2147483698" r:id="rId4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670B91C-6E88-7A66-8A41-60261C051B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5648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48DF32-7B5B-AFFC-6D3F-4AAD62C215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IE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Automated Reporting With Quarto: Beyond Copy And Past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452D9A-F819-5A07-FA6A-2093E338BE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Orla Doyle</a:t>
            </a:r>
          </a:p>
          <a:p>
            <a:r>
              <a:rPr lang="en-GB" b="0" dirty="0"/>
              <a:t>Senior Director Data Science</a:t>
            </a:r>
          </a:p>
          <a:p>
            <a:r>
              <a:rPr lang="en-GB" b="0" dirty="0"/>
              <a:t>posit::conf(2024)</a:t>
            </a:r>
          </a:p>
        </p:txBody>
      </p:sp>
    </p:spTree>
    <p:extLst>
      <p:ext uri="{BB962C8B-B14F-4D97-AF65-F5344CB8AC3E}">
        <p14:creationId xmlns:p14="http://schemas.microsoft.com/office/powerpoint/2010/main" val="688923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">
      <a:dk1>
        <a:srgbClr val="000000"/>
      </a:dk1>
      <a:lt1>
        <a:srgbClr val="FFFFFF"/>
      </a:lt1>
      <a:dk2>
        <a:srgbClr val="000000"/>
      </a:dk2>
      <a:lt2>
        <a:srgbClr val="FFC100"/>
      </a:lt2>
      <a:accent1>
        <a:srgbClr val="002068"/>
      </a:accent1>
      <a:accent2>
        <a:srgbClr val="8F2DDE"/>
      </a:accent2>
      <a:accent3>
        <a:srgbClr val="50E2D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Logo" id="{936DCCFF-3917-724A-90F0-F916ED443546}" vid="{CF8ED28B-9744-344E-A780-9AEC9046FF3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ovartis | Reimagining Medicine</Template>
  <TotalTime>7</TotalTime>
  <Words>21</Words>
  <Application>Microsoft Macintosh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Open Sans</vt:lpstr>
      <vt:lpstr>Ping LCG Medium</vt:lpstr>
      <vt:lpstr>Novartis | Reimagining Medicine</vt:lpstr>
      <vt:lpstr>think-cell Slide</vt:lpstr>
      <vt:lpstr>Automated Reporting With Quarto: Beyond Copy And Pas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oyle, Orla</dc:creator>
  <cp:lastModifiedBy>Doyle, Orla</cp:lastModifiedBy>
  <cp:revision>1</cp:revision>
  <dcterms:created xsi:type="dcterms:W3CDTF">2024-07-02T10:29:42Z</dcterms:created>
  <dcterms:modified xsi:type="dcterms:W3CDTF">2024-07-02T10:3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09:58:24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528f3ced-e75e-42ef-9086-6e756b98a25d</vt:lpwstr>
  </property>
  <property fmtid="{D5CDD505-2E9C-101B-9397-08002B2CF9AE}" pid="8" name="MSIP_Label_3c9bec58-8084-492e-8360-0e1cfe36408c_ContentBits">
    <vt:lpwstr>0</vt:lpwstr>
  </property>
</Properties>
</file>